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00" r:id="rId6"/>
  </p:sldMasterIdLst>
  <p:notesMasterIdLst>
    <p:notesMasterId r:id="rId25"/>
  </p:notesMasterIdLst>
  <p:sldIdLst>
    <p:sldId id="4662" r:id="rId7"/>
    <p:sldId id="838841300" r:id="rId8"/>
    <p:sldId id="327" r:id="rId9"/>
    <p:sldId id="838841279" r:id="rId10"/>
    <p:sldId id="838841008" r:id="rId11"/>
    <p:sldId id="2134805923" r:id="rId12"/>
    <p:sldId id="838841281" r:id="rId13"/>
    <p:sldId id="838841287" r:id="rId14"/>
    <p:sldId id="2134806058" r:id="rId15"/>
    <p:sldId id="2134806059" r:id="rId16"/>
    <p:sldId id="2134806060" r:id="rId17"/>
    <p:sldId id="2134806503" r:id="rId18"/>
    <p:sldId id="2134805925" r:id="rId19"/>
    <p:sldId id="2134806056" r:id="rId20"/>
    <p:sldId id="2134805989" r:id="rId21"/>
    <p:sldId id="2134805980" r:id="rId22"/>
    <p:sldId id="4236" r:id="rId23"/>
    <p:sldId id="2134806057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5922" autoAdjust="0"/>
  </p:normalViewPr>
  <p:slideViewPr>
    <p:cSldViewPr snapToGrid="0">
      <p:cViewPr varScale="1">
        <p:scale>
          <a:sx n="75" d="100"/>
          <a:sy n="75" d="100"/>
        </p:scale>
        <p:origin x="191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4926B9-260B-4031-8E82-E9DEF7D702D8}" type="doc">
      <dgm:prSet loTypeId="urn:microsoft.com/office/officeart/2005/8/layout/equation2" loCatId="relationship" qsTypeId="urn:microsoft.com/office/officeart/2005/8/quickstyle/simple5" qsCatId="simple" csTypeId="urn:microsoft.com/office/officeart/2005/8/colors/accent0_3" csCatId="mainScheme" phldr="1"/>
      <dgm:spPr/>
    </dgm:pt>
    <dgm:pt modelId="{BAFCF7C3-B4DB-4942-AE3F-955AB1028EBF}">
      <dgm:prSet phldrT="[Text]"/>
      <dgm:spPr/>
      <dgm:t>
        <a:bodyPr/>
        <a:lstStyle/>
        <a:p>
          <a:r>
            <a:rPr lang="en-US"/>
            <a:t>ORD Research</a:t>
          </a:r>
        </a:p>
      </dgm:t>
    </dgm:pt>
    <dgm:pt modelId="{4F0ACAD0-9C41-4370-A30C-6A4160DC0FD6}" type="parTrans" cxnId="{5512EA19-1228-4A12-B4FC-6FA1272FDA97}">
      <dgm:prSet/>
      <dgm:spPr/>
      <dgm:t>
        <a:bodyPr/>
        <a:lstStyle/>
        <a:p>
          <a:endParaRPr lang="en-US"/>
        </a:p>
      </dgm:t>
    </dgm:pt>
    <dgm:pt modelId="{C5840ED2-427A-4A21-8693-C4407D064656}" type="sibTrans" cxnId="{5512EA19-1228-4A12-B4FC-6FA1272FDA97}">
      <dgm:prSet/>
      <dgm:spPr/>
      <dgm:t>
        <a:bodyPr/>
        <a:lstStyle/>
        <a:p>
          <a:endParaRPr lang="en-US"/>
        </a:p>
      </dgm:t>
    </dgm:pt>
    <dgm:pt modelId="{29F0A464-4F3F-4131-9E70-873B6D640755}">
      <dgm:prSet phldrT="[Text]"/>
      <dgm:spPr/>
      <dgm:t>
        <a:bodyPr/>
        <a:lstStyle/>
        <a:p>
          <a:r>
            <a:rPr lang="en-US"/>
            <a:t>VHA Clinical Program Offices</a:t>
          </a:r>
        </a:p>
      </dgm:t>
    </dgm:pt>
    <dgm:pt modelId="{C5ADBEAC-2146-4F36-B8BA-A9EE4C7E450F}" type="parTrans" cxnId="{43AE01A2-A749-4133-B016-03C011D72537}">
      <dgm:prSet/>
      <dgm:spPr/>
      <dgm:t>
        <a:bodyPr/>
        <a:lstStyle/>
        <a:p>
          <a:endParaRPr lang="en-US"/>
        </a:p>
      </dgm:t>
    </dgm:pt>
    <dgm:pt modelId="{29DA60EC-66A3-4B25-A466-48496A120F1E}" type="sibTrans" cxnId="{43AE01A2-A749-4133-B016-03C011D72537}">
      <dgm:prSet/>
      <dgm:spPr/>
      <dgm:t>
        <a:bodyPr/>
        <a:lstStyle/>
        <a:p>
          <a:endParaRPr lang="en-US"/>
        </a:p>
      </dgm:t>
    </dgm:pt>
    <dgm:pt modelId="{698DBCA9-3C72-4716-8E81-8BADE6ECB73F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/>
            <a:t>Lung Precision Oncology Program</a:t>
          </a:r>
        </a:p>
      </dgm:t>
    </dgm:pt>
    <dgm:pt modelId="{414E2A1B-9AE6-4282-9B5E-BF88F7F6730B}" type="parTrans" cxnId="{9F46A02B-DD98-4B92-9FEA-287A7C88BF26}">
      <dgm:prSet/>
      <dgm:spPr/>
      <dgm:t>
        <a:bodyPr/>
        <a:lstStyle/>
        <a:p>
          <a:endParaRPr lang="en-US"/>
        </a:p>
      </dgm:t>
    </dgm:pt>
    <dgm:pt modelId="{DBA244D6-CAB5-4D32-A0F1-B6EE79F6CF8E}" type="sibTrans" cxnId="{9F46A02B-DD98-4B92-9FEA-287A7C88BF26}">
      <dgm:prSet/>
      <dgm:spPr/>
      <dgm:t>
        <a:bodyPr/>
        <a:lstStyle/>
        <a:p>
          <a:endParaRPr lang="en-US"/>
        </a:p>
      </dgm:t>
    </dgm:pt>
    <dgm:pt modelId="{FAEF53BD-36EA-4453-BB13-F5C9A7452870}" type="pres">
      <dgm:prSet presAssocID="{394926B9-260B-4031-8E82-E9DEF7D702D8}" presName="Name0" presStyleCnt="0">
        <dgm:presLayoutVars>
          <dgm:dir/>
          <dgm:resizeHandles val="exact"/>
        </dgm:presLayoutVars>
      </dgm:prSet>
      <dgm:spPr/>
    </dgm:pt>
    <dgm:pt modelId="{9295D3E1-D7D8-46E1-8FD4-1464D3DE1873}" type="pres">
      <dgm:prSet presAssocID="{394926B9-260B-4031-8E82-E9DEF7D702D8}" presName="vNodes" presStyleCnt="0"/>
      <dgm:spPr/>
    </dgm:pt>
    <dgm:pt modelId="{160BD208-FDD4-41FB-821E-F5965CB905B3}" type="pres">
      <dgm:prSet presAssocID="{BAFCF7C3-B4DB-4942-AE3F-955AB1028EBF}" presName="node" presStyleLbl="node1" presStyleIdx="0" presStyleCnt="3">
        <dgm:presLayoutVars>
          <dgm:bulletEnabled val="1"/>
        </dgm:presLayoutVars>
      </dgm:prSet>
      <dgm:spPr/>
    </dgm:pt>
    <dgm:pt modelId="{C4D9A6F2-7095-43BD-8DCB-A5E1FAEDCBA8}" type="pres">
      <dgm:prSet presAssocID="{C5840ED2-427A-4A21-8693-C4407D064656}" presName="spacerT" presStyleCnt="0"/>
      <dgm:spPr/>
    </dgm:pt>
    <dgm:pt modelId="{081F8F12-A5EF-4303-A88B-D13433D96ACC}" type="pres">
      <dgm:prSet presAssocID="{C5840ED2-427A-4A21-8693-C4407D064656}" presName="sibTrans" presStyleLbl="sibTrans2D1" presStyleIdx="0" presStyleCnt="2"/>
      <dgm:spPr/>
    </dgm:pt>
    <dgm:pt modelId="{FFA08F4B-F594-4B9C-B4CE-4B008244A95E}" type="pres">
      <dgm:prSet presAssocID="{C5840ED2-427A-4A21-8693-C4407D064656}" presName="spacerB" presStyleCnt="0"/>
      <dgm:spPr/>
    </dgm:pt>
    <dgm:pt modelId="{A11651C5-0978-4F2B-A72B-396506474854}" type="pres">
      <dgm:prSet presAssocID="{29F0A464-4F3F-4131-9E70-873B6D640755}" presName="node" presStyleLbl="node1" presStyleIdx="1" presStyleCnt="3">
        <dgm:presLayoutVars>
          <dgm:bulletEnabled val="1"/>
        </dgm:presLayoutVars>
      </dgm:prSet>
      <dgm:spPr/>
    </dgm:pt>
    <dgm:pt modelId="{F31A2BEE-5C05-498A-BE0B-650ABC5D2B86}" type="pres">
      <dgm:prSet presAssocID="{394926B9-260B-4031-8E82-E9DEF7D702D8}" presName="sibTransLast" presStyleLbl="sibTrans2D1" presStyleIdx="1" presStyleCnt="2"/>
      <dgm:spPr/>
    </dgm:pt>
    <dgm:pt modelId="{F0258AEB-F40A-41DD-9FDF-636A4D43F750}" type="pres">
      <dgm:prSet presAssocID="{394926B9-260B-4031-8E82-E9DEF7D702D8}" presName="connectorText" presStyleLbl="sibTrans2D1" presStyleIdx="1" presStyleCnt="2"/>
      <dgm:spPr/>
    </dgm:pt>
    <dgm:pt modelId="{DA89F8A5-C757-4716-8745-5820AA385A08}" type="pres">
      <dgm:prSet presAssocID="{394926B9-260B-4031-8E82-E9DEF7D702D8}" presName="lastNode" presStyleLbl="node1" presStyleIdx="2" presStyleCnt="3">
        <dgm:presLayoutVars>
          <dgm:bulletEnabled val="1"/>
        </dgm:presLayoutVars>
      </dgm:prSet>
      <dgm:spPr/>
    </dgm:pt>
  </dgm:ptLst>
  <dgm:cxnLst>
    <dgm:cxn modelId="{5512EA19-1228-4A12-B4FC-6FA1272FDA97}" srcId="{394926B9-260B-4031-8E82-E9DEF7D702D8}" destId="{BAFCF7C3-B4DB-4942-AE3F-955AB1028EBF}" srcOrd="0" destOrd="0" parTransId="{4F0ACAD0-9C41-4370-A30C-6A4160DC0FD6}" sibTransId="{C5840ED2-427A-4A21-8693-C4407D064656}"/>
    <dgm:cxn modelId="{9F46A02B-DD98-4B92-9FEA-287A7C88BF26}" srcId="{394926B9-260B-4031-8E82-E9DEF7D702D8}" destId="{698DBCA9-3C72-4716-8E81-8BADE6ECB73F}" srcOrd="2" destOrd="0" parTransId="{414E2A1B-9AE6-4282-9B5E-BF88F7F6730B}" sibTransId="{DBA244D6-CAB5-4D32-A0F1-B6EE79F6CF8E}"/>
    <dgm:cxn modelId="{AF657546-5C46-48D0-AE78-1FF90E6557FE}" type="presOf" srcId="{698DBCA9-3C72-4716-8E81-8BADE6ECB73F}" destId="{DA89F8A5-C757-4716-8745-5820AA385A08}" srcOrd="0" destOrd="0" presId="urn:microsoft.com/office/officeart/2005/8/layout/equation2"/>
    <dgm:cxn modelId="{7AD29A8F-2871-4B14-B2C6-183C4B5C52F7}" type="presOf" srcId="{BAFCF7C3-B4DB-4942-AE3F-955AB1028EBF}" destId="{160BD208-FDD4-41FB-821E-F5965CB905B3}" srcOrd="0" destOrd="0" presId="urn:microsoft.com/office/officeart/2005/8/layout/equation2"/>
    <dgm:cxn modelId="{7B24CA95-165D-404D-B07C-20C6C97980A1}" type="presOf" srcId="{29F0A464-4F3F-4131-9E70-873B6D640755}" destId="{A11651C5-0978-4F2B-A72B-396506474854}" srcOrd="0" destOrd="0" presId="urn:microsoft.com/office/officeart/2005/8/layout/equation2"/>
    <dgm:cxn modelId="{43AE01A2-A749-4133-B016-03C011D72537}" srcId="{394926B9-260B-4031-8E82-E9DEF7D702D8}" destId="{29F0A464-4F3F-4131-9E70-873B6D640755}" srcOrd="1" destOrd="0" parTransId="{C5ADBEAC-2146-4F36-B8BA-A9EE4C7E450F}" sibTransId="{29DA60EC-66A3-4B25-A466-48496A120F1E}"/>
    <dgm:cxn modelId="{F9B250A3-7860-47F1-ADE2-168A98094DE9}" type="presOf" srcId="{C5840ED2-427A-4A21-8693-C4407D064656}" destId="{081F8F12-A5EF-4303-A88B-D13433D96ACC}" srcOrd="0" destOrd="0" presId="urn:microsoft.com/office/officeart/2005/8/layout/equation2"/>
    <dgm:cxn modelId="{A22955B4-559A-4904-A277-94DA9F613303}" type="presOf" srcId="{29DA60EC-66A3-4B25-A466-48496A120F1E}" destId="{F0258AEB-F40A-41DD-9FDF-636A4D43F750}" srcOrd="1" destOrd="0" presId="urn:microsoft.com/office/officeart/2005/8/layout/equation2"/>
    <dgm:cxn modelId="{BA23E7C2-DF45-4A1B-8069-A6E60B9CB4C5}" type="presOf" srcId="{394926B9-260B-4031-8E82-E9DEF7D702D8}" destId="{FAEF53BD-36EA-4453-BB13-F5C9A7452870}" srcOrd="0" destOrd="0" presId="urn:microsoft.com/office/officeart/2005/8/layout/equation2"/>
    <dgm:cxn modelId="{6A9AC9F8-7DDE-4656-9D85-462DBA1574F8}" type="presOf" srcId="{29DA60EC-66A3-4B25-A466-48496A120F1E}" destId="{F31A2BEE-5C05-498A-BE0B-650ABC5D2B86}" srcOrd="0" destOrd="0" presId="urn:microsoft.com/office/officeart/2005/8/layout/equation2"/>
    <dgm:cxn modelId="{A337E3C1-8ABB-42EF-9EE6-A84027005A04}" type="presParOf" srcId="{FAEF53BD-36EA-4453-BB13-F5C9A7452870}" destId="{9295D3E1-D7D8-46E1-8FD4-1464D3DE1873}" srcOrd="0" destOrd="0" presId="urn:microsoft.com/office/officeart/2005/8/layout/equation2"/>
    <dgm:cxn modelId="{FAECFC04-198A-4140-AE1D-6C40FA04BB15}" type="presParOf" srcId="{9295D3E1-D7D8-46E1-8FD4-1464D3DE1873}" destId="{160BD208-FDD4-41FB-821E-F5965CB905B3}" srcOrd="0" destOrd="0" presId="urn:microsoft.com/office/officeart/2005/8/layout/equation2"/>
    <dgm:cxn modelId="{4EDC2650-E916-4084-A1A9-73414D911EB4}" type="presParOf" srcId="{9295D3E1-D7D8-46E1-8FD4-1464D3DE1873}" destId="{C4D9A6F2-7095-43BD-8DCB-A5E1FAEDCBA8}" srcOrd="1" destOrd="0" presId="urn:microsoft.com/office/officeart/2005/8/layout/equation2"/>
    <dgm:cxn modelId="{C01CBBB7-84FE-450F-B8EB-57F3752EBC35}" type="presParOf" srcId="{9295D3E1-D7D8-46E1-8FD4-1464D3DE1873}" destId="{081F8F12-A5EF-4303-A88B-D13433D96ACC}" srcOrd="2" destOrd="0" presId="urn:microsoft.com/office/officeart/2005/8/layout/equation2"/>
    <dgm:cxn modelId="{2AAEEFDC-316C-4C3A-9866-A8AE776DA8CB}" type="presParOf" srcId="{9295D3E1-D7D8-46E1-8FD4-1464D3DE1873}" destId="{FFA08F4B-F594-4B9C-B4CE-4B008244A95E}" srcOrd="3" destOrd="0" presId="urn:microsoft.com/office/officeart/2005/8/layout/equation2"/>
    <dgm:cxn modelId="{AD502F26-7C3A-48BA-B7ED-1F9CBC281140}" type="presParOf" srcId="{9295D3E1-D7D8-46E1-8FD4-1464D3DE1873}" destId="{A11651C5-0978-4F2B-A72B-396506474854}" srcOrd="4" destOrd="0" presId="urn:microsoft.com/office/officeart/2005/8/layout/equation2"/>
    <dgm:cxn modelId="{B155C6F3-EC83-4913-B1E2-C85FFD62AC6C}" type="presParOf" srcId="{FAEF53BD-36EA-4453-BB13-F5C9A7452870}" destId="{F31A2BEE-5C05-498A-BE0B-650ABC5D2B86}" srcOrd="1" destOrd="0" presId="urn:microsoft.com/office/officeart/2005/8/layout/equation2"/>
    <dgm:cxn modelId="{3E05468C-7585-4187-B76F-938086658798}" type="presParOf" srcId="{F31A2BEE-5C05-498A-BE0B-650ABC5D2B86}" destId="{F0258AEB-F40A-41DD-9FDF-636A4D43F750}" srcOrd="0" destOrd="0" presId="urn:microsoft.com/office/officeart/2005/8/layout/equation2"/>
    <dgm:cxn modelId="{E5D16D52-1F78-4D17-8FB9-C68469593D89}" type="presParOf" srcId="{FAEF53BD-36EA-4453-BB13-F5C9A7452870}" destId="{DA89F8A5-C757-4716-8745-5820AA385A08}" srcOrd="2" destOrd="0" presId="urn:microsoft.com/office/officeart/2005/8/layout/equati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0BD208-FDD4-41FB-821E-F5965CB905B3}">
      <dsp:nvSpPr>
        <dsp:cNvPr id="0" name=""/>
        <dsp:cNvSpPr/>
      </dsp:nvSpPr>
      <dsp:spPr>
        <a:xfrm>
          <a:off x="495066" y="2036"/>
          <a:ext cx="1800406" cy="1800406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ORD Research</a:t>
          </a:r>
        </a:p>
      </dsp:txBody>
      <dsp:txXfrm>
        <a:off x="758729" y="265699"/>
        <a:ext cx="1273080" cy="1273080"/>
      </dsp:txXfrm>
    </dsp:sp>
    <dsp:sp modelId="{081F8F12-A5EF-4303-A88B-D13433D96ACC}">
      <dsp:nvSpPr>
        <dsp:cNvPr id="0" name=""/>
        <dsp:cNvSpPr/>
      </dsp:nvSpPr>
      <dsp:spPr>
        <a:xfrm>
          <a:off x="873151" y="1948636"/>
          <a:ext cx="1044235" cy="1044235"/>
        </a:xfrm>
        <a:prstGeom prst="mathPlus">
          <a:avLst/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1011564" y="2347951"/>
        <a:ext cx="767409" cy="245605"/>
      </dsp:txXfrm>
    </dsp:sp>
    <dsp:sp modelId="{A11651C5-0978-4F2B-A72B-396506474854}">
      <dsp:nvSpPr>
        <dsp:cNvPr id="0" name=""/>
        <dsp:cNvSpPr/>
      </dsp:nvSpPr>
      <dsp:spPr>
        <a:xfrm>
          <a:off x="495066" y="3139064"/>
          <a:ext cx="1800406" cy="1800406"/>
        </a:xfrm>
        <a:prstGeom prst="ellipse">
          <a:avLst/>
        </a:prstGeom>
        <a:gradFill rotWithShape="0">
          <a:gsLst>
            <a:gs pos="0">
              <a:schemeClr val="dk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VHA Clinical Program Offices</a:t>
          </a:r>
        </a:p>
      </dsp:txBody>
      <dsp:txXfrm>
        <a:off x="758729" y="3402727"/>
        <a:ext cx="1273080" cy="1273080"/>
      </dsp:txXfrm>
    </dsp:sp>
    <dsp:sp modelId="{F31A2BEE-5C05-498A-BE0B-650ABC5D2B86}">
      <dsp:nvSpPr>
        <dsp:cNvPr id="0" name=""/>
        <dsp:cNvSpPr/>
      </dsp:nvSpPr>
      <dsp:spPr>
        <a:xfrm>
          <a:off x="2565533" y="2135878"/>
          <a:ext cx="572529" cy="669751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dk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dk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dk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/>
        </a:p>
      </dsp:txBody>
      <dsp:txXfrm>
        <a:off x="2565533" y="2269828"/>
        <a:ext cx="400770" cy="401851"/>
      </dsp:txXfrm>
    </dsp:sp>
    <dsp:sp modelId="{DA89F8A5-C757-4716-8745-5820AA385A08}">
      <dsp:nvSpPr>
        <dsp:cNvPr id="0" name=""/>
        <dsp:cNvSpPr/>
      </dsp:nvSpPr>
      <dsp:spPr>
        <a:xfrm>
          <a:off x="3375716" y="670347"/>
          <a:ext cx="3600813" cy="3600813"/>
        </a:xfrm>
        <a:prstGeom prst="ellipse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4610" tIns="54610" rIns="54610" bIns="54610" numCol="1" spcCol="1270" anchor="ctr" anchorCtr="0">
          <a:noAutofit/>
        </a:bodyPr>
        <a:lstStyle/>
        <a:p>
          <a:pPr marL="0" lvl="0" indent="0" algn="ctr" defTabSz="1911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300" kern="1200"/>
            <a:t>Lung Precision Oncology Program</a:t>
          </a:r>
        </a:p>
      </dsp:txBody>
      <dsp:txXfrm>
        <a:off x="3903043" y="1197674"/>
        <a:ext cx="2546159" cy="25461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equation2">
  <dgm:title val=""/>
  <dgm:desc val=""/>
  <dgm:catLst>
    <dgm:cat type="relationship" pri="18000"/>
    <dgm:cat type="process" pri="2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linDir" val="fromL"/>
          <dgm:param type="fallback" val="2D"/>
        </dgm:alg>
      </dgm:if>
      <dgm:else name="Name3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ch" ptType="node" func="cnt" op="gte" val="3">
        <dgm:constrLst>
          <dgm:constr type="h" for="des" forName="node" refType="w" fact="0.5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ch" forName="lastNode" op="equ" val="65"/>
          <dgm:constr type="primFontSz" for="des" forName="node" op="equ" val="65"/>
          <dgm:constr type="primFontSz" for="des" forName="sibTrans" val="55"/>
          <dgm:constr type="primFontSz" for="des" forName="sibTrans" refType="primFontSz" refFor="des" refForName="node" op="lte" fact="0.8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if>
      <dgm:else name="Name6">
        <dgm:constrLst>
          <dgm:constr type="h" for="des" forName="node" refType="w"/>
          <dgm:constr type="w" for="ch" forName="lastNode" refType="w"/>
          <dgm:constr type="w" for="des" forName="node" refType="h" refFor="des" refForName="node"/>
          <dgm:constr type="w" for="ch" forName="sibTransLast" refType="h" refFor="des" refForName="node" fact="0.6"/>
          <dgm:constr type="h" for="des" forName="sibTrans" refType="h" refFor="des" refForName="node" op="equ" fact="0.58"/>
          <dgm:constr type="w" for="des" forName="sibTrans" refType="h" refFor="des" refForName="sibTrans" op="equ"/>
          <dgm:constr type="primFontSz" for="des" forName="node" val="65"/>
          <dgm:constr type="primFontSz" for="ch" forName="lastNode" refType="primFontSz" refFor="des" refForName="node" op="equ"/>
          <dgm:constr type="primFontSz" for="des" forName="sibTrans" val="55"/>
          <dgm:constr type="primFontSz" for="des" forName="connectorText" refType="primFontSz" refFor="des" refForName="node" op="lte" fact="0.8"/>
          <dgm:constr type="primFontSz" for="des" forName="connectorText" refType="primFontSz" refFor="des" refForName="sibTrans" op="equ"/>
          <dgm:constr type="h" for="des" forName="spacerT" refType="h" refFor="des" refForName="sibTrans" fact="0.14"/>
          <dgm:constr type="h" for="des" forName="spacerB" refType="h" refFor="des" refForName="sibTrans" fact="0.14"/>
        </dgm:constrLst>
      </dgm:else>
    </dgm:choose>
    <dgm:ruleLst/>
    <dgm:choose name="Name7">
      <dgm:if name="Name8" axis="ch" ptType="node" func="cnt" op="gte" val="1">
        <dgm:layoutNode name="vNodes">
          <dgm:alg type="lin">
            <dgm:param type="linDir" val="fromT"/>
            <dgm:param type="fallback" val="2D"/>
          </dgm:alg>
          <dgm:shape xmlns:r="http://schemas.openxmlformats.org/officeDocument/2006/relationships" r:blip="">
            <dgm:adjLst/>
          </dgm:shape>
          <dgm:presOf/>
          <dgm:constrLst/>
          <dgm:ruleLst/>
          <dgm:forEach name="Name9" axis="ch" ptType="node">
            <dgm:choose name="Name10">
              <dgm:if name="Name11" axis="self" func="revPos" op="neq" val="1">
                <dgm:layoutNode name="node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  <dgm:choose name="Name12">
                  <dgm:if name="Name13" axis="self" ptType="node" func="revPos" op="gt" val="2">
                    <dgm:forEach name="sibTransForEach" axis="followSib" ptType="sibTrans" cnt="1">
                      <dgm:layoutNode name="spacerT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  <dgm:layoutNode name="sibTrans">
                        <dgm:alg type="tx"/>
                        <dgm:shape xmlns:r="http://schemas.openxmlformats.org/officeDocument/2006/relationships" type="mathPlus" r:blip="">
                          <dgm:adjLst/>
                        </dgm:shape>
                        <dgm:presOf axis="self"/>
                        <dgm:constrLst>
                          <dgm:constr type="h" refType="w"/>
                          <dgm:constr type="lMarg"/>
                          <dgm:constr type="rMarg"/>
                          <dgm:constr type="tMarg"/>
                          <dgm:constr type="bMarg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spacerB">
                        <dgm:alg type="sp"/>
                        <dgm:shape xmlns:r="http://schemas.openxmlformats.org/officeDocument/2006/relationships" r:blip="">
                          <dgm:adjLst/>
                        </dgm:shape>
                        <dgm:presOf axis="self"/>
                        <dgm:constrLst/>
                        <dgm:ruleLst/>
                      </dgm:layoutNode>
                    </dgm:forEach>
                  </dgm:if>
                  <dgm:else name="Name14"/>
                </dgm:choose>
              </dgm:if>
              <dgm:else name="Name15"/>
            </dgm:choose>
          </dgm:forEach>
        </dgm:layoutNode>
        <dgm:choose name="Name16">
          <dgm:if name="Name17" axis="ch" ptType="node" func="cnt" op="gt" val="1">
            <dgm:layoutNode name="sibTransLast">
              <dgm:alg type="conn">
                <dgm:param type="begPts" val="auto"/>
                <dgm:param type="endPts" val="auto"/>
                <dgm:param type="srcNode" val="vNodes"/>
                <dgm:param type="dstNode" val="lastNode"/>
              </dgm:alg>
              <dgm:shape xmlns:r="http://schemas.openxmlformats.org/officeDocument/2006/relationships" type="conn" r:blip="">
                <dgm:adjLst/>
              </dgm:shape>
              <dgm:presOf axis="ch" ptType="sibTrans" st="-1" cnt="1"/>
              <dgm:constrLst>
                <dgm:constr type="h" refType="w" fact="0.62"/>
                <dgm:constr type="connDist"/>
                <dgm:constr type="begPad" refType="connDist" fact="0.25"/>
                <dgm:constr type="endPad" refType="connDist" fact="0.22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ch desOrSelf" ptType="sibTrans sibTrans" st="-1 1" cnt="1 0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if>
          <dgm:else name="Name18"/>
        </dgm:choose>
        <dgm:layoutNode name="lastNode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ellipse" r:blip="">
            <dgm:adjLst/>
          </dgm:shape>
          <dgm:presOf axis="ch desOrSelf" ptType="node node" st="-1 1" cnt="1 0"/>
          <dgm:constrLst>
            <dgm:constr type="h" refType="w"/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</dgm:if>
      <dgm:else name="Name19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FB0BB2-D3DA-4B51-94D4-A4A2BD273E1F}" type="datetimeFigureOut">
              <a:rPr lang="en-US" smtClean="0"/>
              <a:t>3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0A50C8-4783-4E6C-B8AB-656C38E8A7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091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C82FC8-5D4F-424F-8920-A7B781D0CA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20629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37135E-9B15-44AC-B50F-B6A529ABD10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9609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37135E-9B15-44AC-B50F-B6A529ABD10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4616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37135E-9B15-44AC-B50F-B6A529ABD10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9041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8" name="Google Shape;218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This is exactly what we are doing across many of our initiatives, including organizational alignment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1312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B35E6A-F08E-4F1B-9A48-61657B91EA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25182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200" b="0" i="0" dirty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u="sng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6C8D81-BF72-4C59-B8A3-08EB560716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4996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A1A0A5-00C1-426E-8F9A-F64EABEEBF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9060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strike="sngStrike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B87B0B-AC5B-46AF-A24C-C1692F5E49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48156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endParaRPr lang="en-US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B87B0B-AC5B-46AF-A24C-C1692F5E490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3304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i="0" dirty="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6C8D81-BF72-4C59-B8A3-08EB5607167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73299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9F152B-457E-4DA8-A047-E0567090055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123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439937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53357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648976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09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532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9456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 userDrawn="1"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4575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8620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93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7926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1574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5834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5657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666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7451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">
    <p:bg>
      <p:bgPr>
        <a:solidFill>
          <a:srgbClr val="002F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E3D11B-5FAF-4A20-BC91-DC09E07A8D6B}"/>
              </a:ext>
            </a:extLst>
          </p:cNvPr>
          <p:cNvCxnSpPr>
            <a:cxnSpLocks/>
          </p:cNvCxnSpPr>
          <p:nvPr userDrawn="1"/>
        </p:nvCxnSpPr>
        <p:spPr>
          <a:xfrm>
            <a:off x="955497" y="3705225"/>
            <a:ext cx="1123650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FF66FB-DCA5-48F3-A735-3BE74D09A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9144000" cy="1828800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65488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274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6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1851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7324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311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133859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8" y="982666"/>
            <a:ext cx="3108114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8935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133859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4" y="3523768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2103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3" y="1133856"/>
            <a:ext cx="6878780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 userDrawn="1"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7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6172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3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3" y="1133857"/>
            <a:ext cx="5867401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4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4711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3" y="1133856"/>
            <a:ext cx="10515598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1" y="3087350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1" y="4573250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8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8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79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85989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93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4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59328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93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4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93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4" y="4094021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7391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079503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6427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9744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1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1" y="3401012"/>
            <a:ext cx="5471584" cy="25352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0" y="1058866"/>
            <a:ext cx="5471584" cy="48773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6337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799055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209AB8-E01A-61E4-9555-EB4F81C0C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3840E1-896C-2780-60A6-48DDFC5D1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C3DBD6-F645-49F3-A4D4-5FAD56CCFFED}" type="datetimeFigureOut">
              <a:rPr lang="en-US" smtClean="0"/>
              <a:t>3/31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3AA05C-DE71-EC38-338A-E021925A2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762E11-42A8-5AE2-323D-8E0081AA1C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F3F945-2BC2-4D3B-83B3-7A2551EA57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9272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767191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52603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">
    <p:bg>
      <p:bgPr>
        <a:solidFill>
          <a:srgbClr val="002F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E3D11B-5FAF-4A20-BC91-DC09E07A8D6B}"/>
              </a:ext>
            </a:extLst>
          </p:cNvPr>
          <p:cNvCxnSpPr>
            <a:cxnSpLocks/>
          </p:cNvCxnSpPr>
          <p:nvPr userDrawn="1"/>
        </p:nvCxnSpPr>
        <p:spPr>
          <a:xfrm>
            <a:off x="955497" y="3705225"/>
            <a:ext cx="1123650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FF66FB-DCA5-48F3-A735-3BE74D09A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9144000" cy="1828800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75946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40554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904914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0765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6604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05727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95059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4593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2977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851570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98780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0401326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240634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24128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90670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489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83315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92369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 userDrawn="1"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33821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8291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2696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698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90721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27565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719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3485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">
    <p:bg>
      <p:bgPr>
        <a:solidFill>
          <a:srgbClr val="002F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E3D11B-5FAF-4A20-BC91-DC09E07A8D6B}"/>
              </a:ext>
            </a:extLst>
          </p:cNvPr>
          <p:cNvCxnSpPr>
            <a:cxnSpLocks/>
          </p:cNvCxnSpPr>
          <p:nvPr userDrawn="1"/>
        </p:nvCxnSpPr>
        <p:spPr>
          <a:xfrm>
            <a:off x="955497" y="3705225"/>
            <a:ext cx="1123650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FF66FB-DCA5-48F3-A735-3BE74D09A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9144000" cy="1828800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5100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04943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757086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414038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32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1347274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3985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98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6968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3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6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4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2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3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1" rIns="91440" bIns="45721" rtlCol="0" anchor="ctr"/>
          <a:lstStyle/>
          <a:p>
            <a:pPr algn="ctr" defTabSz="457211"/>
            <a:endParaRPr lang="en-US" sz="1801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5" y="6191250"/>
            <a:ext cx="236854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3" y="6184206"/>
            <a:ext cx="2940052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7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2547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9" r:id="rId16"/>
  </p:sldLayoutIdLst>
  <p:hf hdr="0" ftr="0" dt="0"/>
  <p:txStyles>
    <p:titleStyle>
      <a:lvl1pPr algn="l" defTabSz="914422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6" indent="-228606" algn="l" defTabSz="914422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1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0646605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95" imgH="396" progId="TCLayout.ActiveDocument.1">
                  <p:embed/>
                </p:oleObj>
              </mc:Choice>
              <mc:Fallback>
                <p:oleObj name="think-cell Slide" r:id="rId26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3/3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9995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13" Type="http://schemas.openxmlformats.org/officeDocument/2006/relationships/image" Target="../media/image63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12" Type="http://schemas.openxmlformats.org/officeDocument/2006/relationships/image" Target="../media/image62.sv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6.sv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56.svg"/><Relationship Id="rId11" Type="http://schemas.openxmlformats.org/officeDocument/2006/relationships/image" Target="../media/image61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10" Type="http://schemas.openxmlformats.org/officeDocument/2006/relationships/image" Target="../media/image60.svg"/><Relationship Id="rId4" Type="http://schemas.openxmlformats.org/officeDocument/2006/relationships/image" Target="../media/image54.svg"/><Relationship Id="rId9" Type="http://schemas.openxmlformats.org/officeDocument/2006/relationships/image" Target="../media/image59.png"/><Relationship Id="rId14" Type="http://schemas.openxmlformats.org/officeDocument/2006/relationships/image" Target="../media/image64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13" Type="http://schemas.openxmlformats.org/officeDocument/2006/relationships/image" Target="../media/image71.png"/><Relationship Id="rId18" Type="http://schemas.openxmlformats.org/officeDocument/2006/relationships/image" Target="../media/image76.svg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25.xml"/><Relationship Id="rId12" Type="http://schemas.openxmlformats.org/officeDocument/2006/relationships/image" Target="../media/image70.svg"/><Relationship Id="rId17" Type="http://schemas.openxmlformats.org/officeDocument/2006/relationships/image" Target="../media/image75.png"/><Relationship Id="rId2" Type="http://schemas.openxmlformats.org/officeDocument/2006/relationships/tags" Target="../tags/tag11.xml"/><Relationship Id="rId16" Type="http://schemas.openxmlformats.org/officeDocument/2006/relationships/image" Target="../media/image74.svg"/><Relationship Id="rId20" Type="http://schemas.openxmlformats.org/officeDocument/2006/relationships/image" Target="../media/image78.sv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69.png"/><Relationship Id="rId5" Type="http://schemas.openxmlformats.org/officeDocument/2006/relationships/tags" Target="../tags/tag14.xml"/><Relationship Id="rId15" Type="http://schemas.openxmlformats.org/officeDocument/2006/relationships/image" Target="../media/image73.png"/><Relationship Id="rId10" Type="http://schemas.openxmlformats.org/officeDocument/2006/relationships/image" Target="../media/image68.svg"/><Relationship Id="rId19" Type="http://schemas.openxmlformats.org/officeDocument/2006/relationships/image" Target="../media/image77.png"/><Relationship Id="rId4" Type="http://schemas.openxmlformats.org/officeDocument/2006/relationships/tags" Target="../tags/tag13.xml"/><Relationship Id="rId9" Type="http://schemas.openxmlformats.org/officeDocument/2006/relationships/image" Target="../media/image67.png"/><Relationship Id="rId14" Type="http://schemas.openxmlformats.org/officeDocument/2006/relationships/image" Target="../media/image72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hyperlink" Target="mailto:Kenute.myrie@va.gov" TargetMode="Externa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0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2.sv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1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13" Type="http://schemas.openxmlformats.org/officeDocument/2006/relationships/image" Target="../media/image31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30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34.sv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4.sv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10" Type="http://schemas.openxmlformats.org/officeDocument/2006/relationships/image" Target="../media/image28.svg"/><Relationship Id="rId4" Type="http://schemas.openxmlformats.org/officeDocument/2006/relationships/image" Target="../media/image22.svg"/><Relationship Id="rId9" Type="http://schemas.openxmlformats.org/officeDocument/2006/relationships/image" Target="../media/image27.png"/><Relationship Id="rId14" Type="http://schemas.openxmlformats.org/officeDocument/2006/relationships/image" Target="../media/image32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8.sv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6.svg"/><Relationship Id="rId11" Type="http://schemas.openxmlformats.org/officeDocument/2006/relationships/image" Target="../media/image51.png"/><Relationship Id="rId5" Type="http://schemas.openxmlformats.org/officeDocument/2006/relationships/image" Target="../media/image45.png"/><Relationship Id="rId10" Type="http://schemas.openxmlformats.org/officeDocument/2006/relationships/image" Target="../media/image50.svg"/><Relationship Id="rId4" Type="http://schemas.openxmlformats.org/officeDocument/2006/relationships/image" Target="../media/image44.svg"/><Relationship Id="rId9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82249-0B28-4010-A032-7A419ABC31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Precision Oncology Actively Managed Portfolio Overview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ED9251A-8C17-4529-B6E2-D53991439E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651771"/>
            <a:ext cx="9144000" cy="690562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March 28</a:t>
            </a:r>
            <a:r>
              <a:rPr lang="en-US" baseline="30000"/>
              <a:t>th</a:t>
            </a:r>
            <a:r>
              <a:rPr lang="en-US"/>
              <a:t>, 202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EC2117-8EC9-4D18-BA3C-7AC7B16F4B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3041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081DB8A-FB49-45C4-3B44-CBA6FD418E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PO AMP Purview Stat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D844F7C-F325-71BC-8E25-3B64C56490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800" i="1" dirty="0"/>
              <a:t>Precision oncology’s purview includes studies that: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800" dirty="0"/>
              <a:t>Focus on the characterization of patient tumor (or other biospecimen) using next generation sequencing (NGS profiling) or other </a:t>
            </a:r>
            <a:r>
              <a:rPr lang="en-US" sz="1800" dirty="0" err="1"/>
              <a:t>histologies</a:t>
            </a:r>
            <a:r>
              <a:rPr lang="en-US" sz="1800" dirty="0"/>
              <a:t> for diagnosis, treatment, prediction or prognosis; may include the use of targeted therapies ( or in combination with immunotherapy) aimed at treating cancer cells, use of biomarker(s) to test for cancer or clinical/treatment response and outcome;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800" dirty="0"/>
              <a:t>Use NGS profiling to understand resistance to therapy in a patients tumor and/or  molecular characteristics of resistant samples derived from patient biopsies (e.g., patients enrolled in clinical trials) or to understand the  molecular drivers of response to  immunotherapy; 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800" dirty="0"/>
              <a:t>Involve the use of data analytics such as artificial intelligence/machine learning/neural networks/algorithms to interrogate </a:t>
            </a:r>
            <a:r>
              <a:rPr lang="en-US" sz="1800" dirty="0" err="1"/>
              <a:t>pathomic</a:t>
            </a:r>
            <a:r>
              <a:rPr lang="en-US" sz="1800" dirty="0"/>
              <a:t> and radiomic images or genomic/transcriptomic/proteomic data for cancer diagnosis, prognosis, risk stratification, monitoring, prediction of treatment response, inform clinical decision making</a:t>
            </a:r>
          </a:p>
          <a:p>
            <a:pPr marL="342900" indent="-342900">
              <a:buFont typeface="+mj-lt"/>
              <a:buAutoNum type="alphaLcParenR"/>
            </a:pPr>
            <a:r>
              <a:rPr lang="en-US" sz="1800" dirty="0"/>
              <a:t>Precision-based approaches to screening and/or prevention, survival, health disparity, access/equity/inclusion</a:t>
            </a:r>
          </a:p>
        </p:txBody>
      </p:sp>
    </p:spTree>
    <p:extLst>
      <p:ext uri="{BB962C8B-B14F-4D97-AF65-F5344CB8AC3E}">
        <p14:creationId xmlns:p14="http://schemas.microsoft.com/office/powerpoint/2010/main" val="4078668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F1317EA-9074-06A2-7EC0-38988E72CDA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recision Oncology AMP Oversight</a:t>
            </a:r>
          </a:p>
        </p:txBody>
      </p:sp>
    </p:spTree>
    <p:extLst>
      <p:ext uri="{BB962C8B-B14F-4D97-AF65-F5344CB8AC3E}">
        <p14:creationId xmlns:p14="http://schemas.microsoft.com/office/powerpoint/2010/main" val="95645553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>
            <a:extLst>
              <a:ext uri="{FF2B5EF4-FFF2-40B4-BE49-F238E27FC236}">
                <a16:creationId xmlns:a16="http://schemas.microsoft.com/office/drawing/2014/main" id="{12BD7B80-57BD-49DD-93C6-CB5F553060EB}"/>
              </a:ext>
            </a:extLst>
          </p:cNvPr>
          <p:cNvSpPr txBox="1"/>
          <p:nvPr/>
        </p:nvSpPr>
        <p:spPr>
          <a:xfrm>
            <a:off x="231000" y="186153"/>
            <a:ext cx="117299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Precision Oncology AMP Oversight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34" name="Graphic 33" descr="Tools outline">
            <a:extLst>
              <a:ext uri="{FF2B5EF4-FFF2-40B4-BE49-F238E27FC236}">
                <a16:creationId xmlns:a16="http://schemas.microsoft.com/office/drawing/2014/main" id="{211A46CA-F95D-481A-A49E-78EA871EDF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902" y="3055021"/>
            <a:ext cx="442713" cy="442713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13F09633-9617-4549-ACE8-D383238C8085}"/>
              </a:ext>
            </a:extLst>
          </p:cNvPr>
          <p:cNvSpPr txBox="1"/>
          <p:nvPr/>
        </p:nvSpPr>
        <p:spPr>
          <a:xfrm>
            <a:off x="7662956" y="2663750"/>
            <a:ext cx="4159170" cy="914400"/>
          </a:xfrm>
          <a:prstGeom prst="rect">
            <a:avLst/>
          </a:prstGeom>
          <a:noFill/>
          <a:ln w="28575" cap="rnd">
            <a:solidFill>
              <a:schemeClr val="accent2"/>
            </a:solidFill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vernance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dified Reporting Structu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ion Stat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rters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6D2FDACB-97F9-4BD6-A3DA-422704255C35}"/>
              </a:ext>
            </a:extLst>
          </p:cNvPr>
          <p:cNvGrpSpPr/>
          <p:nvPr/>
        </p:nvGrpSpPr>
        <p:grpSpPr>
          <a:xfrm>
            <a:off x="4329000" y="2146163"/>
            <a:ext cx="3175902" cy="3288613"/>
            <a:chOff x="4464150" y="1912201"/>
            <a:chExt cx="3175902" cy="3288613"/>
          </a:xfrm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9CB5117-CD46-459C-8CAB-ADA9999BC8F3}"/>
                </a:ext>
              </a:extLst>
            </p:cNvPr>
            <p:cNvSpPr/>
            <p:nvPr/>
          </p:nvSpPr>
          <p:spPr>
            <a:xfrm>
              <a:off x="4760197" y="2239934"/>
              <a:ext cx="2671607" cy="2668855"/>
            </a:xfrm>
            <a:prstGeom prst="ellipse">
              <a:avLst/>
            </a:prstGeom>
            <a:noFill/>
            <a:ln w="38100">
              <a:solidFill>
                <a:srgbClr val="002F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solidFill>
                      <a:srgbClr val="002F56"/>
                    </a:solidFill>
                  </a:ln>
                  <a:solidFill>
                    <a:srgbClr val="002F56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Learning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solidFill>
                      <a:srgbClr val="002F56"/>
                    </a:solidFill>
                  </a:ln>
                  <a:solidFill>
                    <a:srgbClr val="002F56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Healthcare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>
                  <a:ln>
                    <a:solidFill>
                      <a:srgbClr val="002F56"/>
                    </a:solidFill>
                  </a:ln>
                  <a:solidFill>
                    <a:srgbClr val="002F56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+mn-cs"/>
                </a:rPr>
                <a:t>System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8E796AA-D01D-4A47-94F7-57D3CF82BF5B}"/>
                </a:ext>
              </a:extLst>
            </p:cNvPr>
            <p:cNvSpPr/>
            <p:nvPr/>
          </p:nvSpPr>
          <p:spPr>
            <a:xfrm>
              <a:off x="5578413" y="1912201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Oval 4">
              <a:extLst>
                <a:ext uri="{FF2B5EF4-FFF2-40B4-BE49-F238E27FC236}">
                  <a16:creationId xmlns:a16="http://schemas.microsoft.com/office/drawing/2014/main" id="{BCF6A05D-A370-42B0-AF1D-A64B0473D4F1}"/>
                </a:ext>
              </a:extLst>
            </p:cNvPr>
            <p:cNvSpPr txBox="1"/>
            <p:nvPr/>
          </p:nvSpPr>
          <p:spPr>
            <a:xfrm>
              <a:off x="5730011" y="2561021"/>
              <a:ext cx="731978" cy="2608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eadership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91012893-63E7-446D-8EE4-F50CC4A3AAAE}"/>
                </a:ext>
              </a:extLst>
            </p:cNvPr>
            <p:cNvSpPr/>
            <p:nvPr/>
          </p:nvSpPr>
          <p:spPr>
            <a:xfrm>
              <a:off x="6604878" y="3667694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Oval 6">
              <a:extLst>
                <a:ext uri="{FF2B5EF4-FFF2-40B4-BE49-F238E27FC236}">
                  <a16:creationId xmlns:a16="http://schemas.microsoft.com/office/drawing/2014/main" id="{64CE4C5C-6CD3-4A85-801E-0F3E4271ADC5}"/>
                </a:ext>
              </a:extLst>
            </p:cNvPr>
            <p:cNvSpPr txBox="1"/>
            <p:nvPr/>
          </p:nvSpPr>
          <p:spPr>
            <a:xfrm>
              <a:off x="6754996" y="3975718"/>
              <a:ext cx="731978" cy="6186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t" anchorCtr="0">
              <a:sp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munity Building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6242D5D-9EEE-418E-8481-DEC1DD02C97D}"/>
                </a:ext>
              </a:extLst>
            </p:cNvPr>
            <p:cNvSpPr/>
            <p:nvPr/>
          </p:nvSpPr>
          <p:spPr>
            <a:xfrm>
              <a:off x="6604878" y="2475429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Oval 8">
              <a:extLst>
                <a:ext uri="{FF2B5EF4-FFF2-40B4-BE49-F238E27FC236}">
                  <a16:creationId xmlns:a16="http://schemas.microsoft.com/office/drawing/2014/main" id="{D8CD22B9-A88D-4631-B959-083CA81EF129}"/>
                </a:ext>
              </a:extLst>
            </p:cNvPr>
            <p:cNvSpPr txBox="1"/>
            <p:nvPr/>
          </p:nvSpPr>
          <p:spPr>
            <a:xfrm>
              <a:off x="6762932" y="3122850"/>
              <a:ext cx="731978" cy="14773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t" anchorCtr="0">
              <a:sp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overnance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6D18C0E3-AD89-41EE-BD85-4174053ABC8B}"/>
                </a:ext>
              </a:extLst>
            </p:cNvPr>
            <p:cNvSpPr/>
            <p:nvPr/>
          </p:nvSpPr>
          <p:spPr>
            <a:xfrm>
              <a:off x="4489326" y="3667694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6" name="Oval 10">
              <a:extLst>
                <a:ext uri="{FF2B5EF4-FFF2-40B4-BE49-F238E27FC236}">
                  <a16:creationId xmlns:a16="http://schemas.microsoft.com/office/drawing/2014/main" id="{86B1481E-6A9A-48D4-9B8A-53CFC68E6D1A}"/>
                </a:ext>
              </a:extLst>
            </p:cNvPr>
            <p:cNvSpPr txBox="1"/>
            <p:nvPr/>
          </p:nvSpPr>
          <p:spPr>
            <a:xfrm>
              <a:off x="4639651" y="3975718"/>
              <a:ext cx="731978" cy="61863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t" anchorCtr="0">
              <a:sp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ata and Analytics</a:t>
              </a:r>
            </a:p>
          </p:txBody>
        </p:sp>
        <p:pic>
          <p:nvPicPr>
            <p:cNvPr id="47" name="Graphic 46" descr="Boardroom outline">
              <a:extLst>
                <a:ext uri="{FF2B5EF4-FFF2-40B4-BE49-F238E27FC236}">
                  <a16:creationId xmlns:a16="http://schemas.microsoft.com/office/drawing/2014/main" id="{2A270CCB-CFCB-44DF-AF77-D1F4FC65075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831019" y="3765118"/>
              <a:ext cx="579932" cy="579932"/>
            </a:xfrm>
            <a:prstGeom prst="rect">
              <a:avLst/>
            </a:prstGeom>
          </p:spPr>
        </p:pic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705AB3DE-30C2-4496-AE1D-CE87E49ED7D4}"/>
                </a:ext>
              </a:extLst>
            </p:cNvPr>
            <p:cNvSpPr/>
            <p:nvPr/>
          </p:nvSpPr>
          <p:spPr>
            <a:xfrm>
              <a:off x="5578413" y="4165640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Oval 12">
              <a:extLst>
                <a:ext uri="{FF2B5EF4-FFF2-40B4-BE49-F238E27FC236}">
                  <a16:creationId xmlns:a16="http://schemas.microsoft.com/office/drawing/2014/main" id="{47739FC3-70A0-4B66-90CE-4D056304E0FE}"/>
                </a:ext>
              </a:extLst>
            </p:cNvPr>
            <p:cNvSpPr txBox="1"/>
            <p:nvPr/>
          </p:nvSpPr>
          <p:spPr>
            <a:xfrm>
              <a:off x="5730011" y="4721646"/>
              <a:ext cx="731978" cy="320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t" anchorCtr="0">
              <a:sp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HS Research</a:t>
              </a: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EFB6B486-79F5-48F4-86E8-2C6FFC25E414}"/>
                </a:ext>
              </a:extLst>
            </p:cNvPr>
            <p:cNvSpPr/>
            <p:nvPr/>
          </p:nvSpPr>
          <p:spPr>
            <a:xfrm>
              <a:off x="4464150" y="2475429"/>
              <a:ext cx="1035174" cy="1035174"/>
            </a:xfrm>
            <a:prstGeom prst="ellipse">
              <a:avLst/>
            </a:prstGeom>
            <a:solidFill>
              <a:srgbClr val="002F56"/>
            </a:solidFill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1" name="Oval 14">
              <a:extLst>
                <a:ext uri="{FF2B5EF4-FFF2-40B4-BE49-F238E27FC236}">
                  <a16:creationId xmlns:a16="http://schemas.microsoft.com/office/drawing/2014/main" id="{89EE82C3-E6B3-4E05-AB2C-86CBFF3140E9}"/>
                </a:ext>
              </a:extLst>
            </p:cNvPr>
            <p:cNvSpPr txBox="1"/>
            <p:nvPr/>
          </p:nvSpPr>
          <p:spPr>
            <a:xfrm>
              <a:off x="4621622" y="2917448"/>
              <a:ext cx="731978" cy="44550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t" anchorCtr="0">
              <a:spAutoFit/>
            </a:bodyPr>
            <a:lstStyle/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4000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Quality Improvement</a:t>
              </a:r>
            </a:p>
          </p:txBody>
        </p:sp>
        <p:pic>
          <p:nvPicPr>
            <p:cNvPr id="52" name="Graphic 51" descr="Flowchart outline">
              <a:extLst>
                <a:ext uri="{FF2B5EF4-FFF2-40B4-BE49-F238E27FC236}">
                  <a16:creationId xmlns:a16="http://schemas.microsoft.com/office/drawing/2014/main" id="{0AFFDB32-CC93-4CB7-95D0-0018ECD1C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832499" y="2558179"/>
              <a:ext cx="579932" cy="579932"/>
            </a:xfrm>
            <a:prstGeom prst="rect">
              <a:avLst/>
            </a:prstGeom>
          </p:spPr>
        </p:pic>
        <p:pic>
          <p:nvPicPr>
            <p:cNvPr id="53" name="Graphic 52" descr="Tools outline">
              <a:extLst>
                <a:ext uri="{FF2B5EF4-FFF2-40B4-BE49-F238E27FC236}">
                  <a16:creationId xmlns:a16="http://schemas.microsoft.com/office/drawing/2014/main" id="{37B0B5ED-498D-49B9-97FB-B0D179360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691771" y="2558179"/>
              <a:ext cx="579932" cy="579932"/>
            </a:xfrm>
            <a:prstGeom prst="rect">
              <a:avLst/>
            </a:prstGeom>
          </p:spPr>
        </p:pic>
        <p:pic>
          <p:nvPicPr>
            <p:cNvPr id="54" name="Graphic 53" descr="Research outline">
              <a:extLst>
                <a:ext uri="{FF2B5EF4-FFF2-40B4-BE49-F238E27FC236}">
                  <a16:creationId xmlns:a16="http://schemas.microsoft.com/office/drawing/2014/main" id="{0CE8E33E-028C-499E-86E4-1FE7BA8794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5806034" y="4332244"/>
              <a:ext cx="579932" cy="579932"/>
            </a:xfrm>
            <a:prstGeom prst="rect">
              <a:avLst/>
            </a:prstGeom>
          </p:spPr>
        </p:pic>
        <p:pic>
          <p:nvPicPr>
            <p:cNvPr id="55" name="Graphic 54" descr="Bar graph with upward trend outline">
              <a:extLst>
                <a:ext uri="{FF2B5EF4-FFF2-40B4-BE49-F238E27FC236}">
                  <a16:creationId xmlns:a16="http://schemas.microsoft.com/office/drawing/2014/main" id="{554BF176-CDFC-4C86-965E-C55555C948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4716947" y="3765118"/>
              <a:ext cx="579932" cy="579932"/>
            </a:xfrm>
            <a:prstGeom prst="rect">
              <a:avLst/>
            </a:prstGeom>
          </p:spPr>
        </p:pic>
        <p:pic>
          <p:nvPicPr>
            <p:cNvPr id="56" name="Graphic 55" descr="Lecturer outline">
              <a:extLst>
                <a:ext uri="{FF2B5EF4-FFF2-40B4-BE49-F238E27FC236}">
                  <a16:creationId xmlns:a16="http://schemas.microsoft.com/office/drawing/2014/main" id="{2C96E797-637D-42D7-B5AC-63462FC732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797325" y="2026608"/>
              <a:ext cx="579932" cy="579932"/>
            </a:xfrm>
            <a:prstGeom prst="rect">
              <a:avLst/>
            </a:prstGeom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5356B731-3F33-4DE1-80B9-E7224213161E}"/>
              </a:ext>
            </a:extLst>
          </p:cNvPr>
          <p:cNvSpPr txBox="1"/>
          <p:nvPr/>
        </p:nvSpPr>
        <p:spPr>
          <a:xfrm>
            <a:off x="3034322" y="1191317"/>
            <a:ext cx="6123354" cy="830997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s of Leadership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ve Steering Committee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or Lung Precision Oncology Program and Precision Oncology Program for Cancer of the Prostate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836023F-B70C-4ADA-94E0-7484A66BA9AF}"/>
              </a:ext>
            </a:extLst>
          </p:cNvPr>
          <p:cNvSpPr txBox="1"/>
          <p:nvPr/>
        </p:nvSpPr>
        <p:spPr>
          <a:xfrm>
            <a:off x="7723814" y="3911802"/>
            <a:ext cx="41591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ty Building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group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reatment, Lung Cancer Screening, Health Disparities, Veteran Engagement)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lusive trial enrollment practice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6D2D22AB-8BB1-489A-AD0D-A9BDFA726F2E}"/>
              </a:ext>
            </a:extLst>
          </p:cNvPr>
          <p:cNvSpPr txBox="1"/>
          <p:nvPr/>
        </p:nvSpPr>
        <p:spPr>
          <a:xfrm>
            <a:off x="237994" y="2713252"/>
            <a:ext cx="415917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Improvement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 improvements in clinical operations for increasing rate of somatic and germline sequencing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07AA3D0-E369-4335-BBBB-90A094418127}"/>
              </a:ext>
            </a:extLst>
          </p:cNvPr>
          <p:cNvSpPr txBox="1"/>
          <p:nvPr/>
        </p:nvSpPr>
        <p:spPr>
          <a:xfrm>
            <a:off x="237994" y="3930136"/>
            <a:ext cx="41591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and Analytic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 note templat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/Machine learning/natural language process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ncer Registry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B9C476B2-2D93-4FC2-B9BE-B0D2BEDB1A7D}"/>
              </a:ext>
            </a:extLst>
          </p:cNvPr>
          <p:cNvSpPr txBox="1"/>
          <p:nvPr/>
        </p:nvSpPr>
        <p:spPr>
          <a:xfrm>
            <a:off x="2617969" y="5525064"/>
            <a:ext cx="66857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sng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orkgroups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(Scientific Advisory, Concept Review, NACHO, MAP-SEQ)</a:t>
            </a:r>
          </a:p>
        </p:txBody>
      </p:sp>
    </p:spTree>
    <p:extLst>
      <p:ext uri="{BB962C8B-B14F-4D97-AF65-F5344CB8AC3E}">
        <p14:creationId xmlns:p14="http://schemas.microsoft.com/office/powerpoint/2010/main" val="2256576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89C57E-431E-7CEA-F190-6B0C358E92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10343874" cy="1828800"/>
          </a:xfrm>
        </p:spPr>
        <p:txBody>
          <a:bodyPr/>
          <a:lstStyle/>
          <a:p>
            <a:r>
              <a:rPr lang="en-US"/>
              <a:t>Accelerated Review Process for Priority Research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75C2D-F6E8-BC10-35E4-B94FFF1A2E8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0489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DE4AC8-8301-A7CB-7629-F2BE8D933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How we gathered information for creation of AMP accelerated review polic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101B165-BD5D-9D96-05CB-06CF9FCDD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4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AB0EC63-40E3-D92E-2382-3108A2BE250D}"/>
              </a:ext>
            </a:extLst>
          </p:cNvPr>
          <p:cNvCxnSpPr>
            <a:cxnSpLocks/>
          </p:cNvCxnSpPr>
          <p:nvPr/>
        </p:nvCxnSpPr>
        <p:spPr>
          <a:xfrm>
            <a:off x="1332814" y="3630607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llipse 43">
            <a:extLst>
              <a:ext uri="{FF2B5EF4-FFF2-40B4-BE49-F238E27FC236}">
                <a16:creationId xmlns:a16="http://schemas.microsoft.com/office/drawing/2014/main" id="{FA91E903-60EC-FAD5-0C73-765BBA99A812}"/>
              </a:ext>
            </a:extLst>
          </p:cNvPr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851576" y="4394059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sp>
        <p:nvSpPr>
          <p:cNvPr id="8" name="Rechteck 28">
            <a:extLst>
              <a:ext uri="{FF2B5EF4-FFF2-40B4-BE49-F238E27FC236}">
                <a16:creationId xmlns:a16="http://schemas.microsoft.com/office/drawing/2014/main" id="{17E8952C-0727-1C79-1173-447A7E19431B}"/>
              </a:ext>
            </a:extLst>
          </p:cNvPr>
          <p:cNvSpPr>
            <a:spLocks/>
          </p:cNvSpPr>
          <p:nvPr/>
        </p:nvSpPr>
        <p:spPr bwMode="gray">
          <a:xfrm>
            <a:off x="425238" y="1178110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1. Document Review</a:t>
            </a:r>
          </a:p>
        </p:txBody>
      </p:sp>
      <p:sp>
        <p:nvSpPr>
          <p:cNvPr id="9" name="Rechteck 28">
            <a:extLst>
              <a:ext uri="{FF2B5EF4-FFF2-40B4-BE49-F238E27FC236}">
                <a16:creationId xmlns:a16="http://schemas.microsoft.com/office/drawing/2014/main" id="{7DB039BA-0947-C27D-66EE-09BE5362F31C}"/>
              </a:ext>
            </a:extLst>
          </p:cNvPr>
          <p:cNvSpPr>
            <a:spLocks/>
          </p:cNvSpPr>
          <p:nvPr/>
        </p:nvSpPr>
        <p:spPr bwMode="gray">
          <a:xfrm>
            <a:off x="425238" y="1698354"/>
            <a:ext cx="1815153" cy="1111798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/>
            <a:r>
              <a:rPr lang="en-US" sz="1400"/>
              <a:t>Reviewed 87 policies and procedures from HSRD, BLRD, CSRD, RRD, CSP and QUERI</a:t>
            </a:r>
          </a:p>
        </p:txBody>
      </p:sp>
      <p:sp>
        <p:nvSpPr>
          <p:cNvPr id="10" name="Freeform 75">
            <a:extLst>
              <a:ext uri="{FF2B5EF4-FFF2-40B4-BE49-F238E27FC236}">
                <a16:creationId xmlns:a16="http://schemas.microsoft.com/office/drawing/2014/main" id="{CD5C6CD3-F24D-286C-8B1A-5C38BE6B9F30}"/>
              </a:ext>
            </a:extLst>
          </p:cNvPr>
          <p:cNvSpPr/>
          <p:nvPr/>
        </p:nvSpPr>
        <p:spPr>
          <a:xfrm rot="10800000" flipV="1">
            <a:off x="425238" y="3108772"/>
            <a:ext cx="1815152" cy="361283"/>
          </a:xfrm>
          <a:custGeom>
            <a:avLst/>
            <a:gdLst>
              <a:gd name="connsiteX0" fmla="*/ 1724664 w 1815152"/>
              <a:gd name="connsiteY0" fmla="*/ 358903 h 358903"/>
              <a:gd name="connsiteX1" fmla="*/ 0 w 1815152"/>
              <a:gd name="connsiteY1" fmla="*/ 358903 h 358903"/>
              <a:gd name="connsiteX2" fmla="*/ 0 w 1815152"/>
              <a:gd name="connsiteY2" fmla="*/ 177928 h 358903"/>
              <a:gd name="connsiteX3" fmla="*/ 748235 w 1815152"/>
              <a:gd name="connsiteY3" fmla="*/ 177928 h 358903"/>
              <a:gd name="connsiteX4" fmla="*/ 907575 w 1815152"/>
              <a:gd name="connsiteY4" fmla="*/ 0 h 358903"/>
              <a:gd name="connsiteX5" fmla="*/ 1066916 w 1815152"/>
              <a:gd name="connsiteY5" fmla="*/ 177928 h 358903"/>
              <a:gd name="connsiteX6" fmla="*/ 1724659 w 1815152"/>
              <a:gd name="connsiteY6" fmla="*/ 177928 h 358903"/>
              <a:gd name="connsiteX7" fmla="*/ 1724664 w 1815152"/>
              <a:gd name="connsiteY7" fmla="*/ 177927 h 358903"/>
              <a:gd name="connsiteX8" fmla="*/ 1815152 w 1815152"/>
              <a:gd name="connsiteY8" fmla="*/ 268415 h 358903"/>
              <a:gd name="connsiteX9" fmla="*/ 1724664 w 1815152"/>
              <a:gd name="connsiteY9" fmla="*/ 358903 h 35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15152" h="358903">
                <a:moveTo>
                  <a:pt x="1724664" y="358903"/>
                </a:moveTo>
                <a:lnTo>
                  <a:pt x="0" y="358903"/>
                </a:lnTo>
                <a:lnTo>
                  <a:pt x="0" y="177928"/>
                </a:lnTo>
                <a:lnTo>
                  <a:pt x="748235" y="177928"/>
                </a:lnTo>
                <a:lnTo>
                  <a:pt x="907575" y="0"/>
                </a:lnTo>
                <a:lnTo>
                  <a:pt x="1066916" y="177928"/>
                </a:lnTo>
                <a:lnTo>
                  <a:pt x="1724659" y="177928"/>
                </a:lnTo>
                <a:lnTo>
                  <a:pt x="1724664" y="177927"/>
                </a:lnTo>
                <a:cubicBezTo>
                  <a:pt x="1774639" y="177927"/>
                  <a:pt x="1815152" y="218440"/>
                  <a:pt x="1815152" y="268415"/>
                </a:cubicBezTo>
                <a:cubicBezTo>
                  <a:pt x="1815152" y="318390"/>
                  <a:pt x="1774639" y="358903"/>
                  <a:pt x="1724664" y="358903"/>
                </a:cubicBez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pic>
        <p:nvPicPr>
          <p:cNvPr id="11" name="Graphic 10" descr="Folder Search with solid fill">
            <a:extLst>
              <a:ext uri="{FF2B5EF4-FFF2-40B4-BE49-F238E27FC236}">
                <a16:creationId xmlns:a16="http://schemas.microsoft.com/office/drawing/2014/main" id="{90482E7C-A8A5-07A2-C265-E21D548108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4904" y="4547386"/>
            <a:ext cx="655821" cy="655821"/>
          </a:xfrm>
          <a:prstGeom prst="rect">
            <a:avLst/>
          </a:prstGeom>
        </p:spPr>
      </p:pic>
      <p:sp>
        <p:nvSpPr>
          <p:cNvPr id="13" name="Freeform 77">
            <a:extLst>
              <a:ext uri="{FF2B5EF4-FFF2-40B4-BE49-F238E27FC236}">
                <a16:creationId xmlns:a16="http://schemas.microsoft.com/office/drawing/2014/main" id="{9B30F9C9-D19E-D32D-F864-A4C949ABB9C0}"/>
              </a:ext>
            </a:extLst>
          </p:cNvPr>
          <p:cNvSpPr/>
          <p:nvPr/>
        </p:nvSpPr>
        <p:spPr>
          <a:xfrm flipH="1" flipV="1">
            <a:off x="4218395" y="3108772"/>
            <a:ext cx="1815153" cy="361283"/>
          </a:xfrm>
          <a:custGeom>
            <a:avLst/>
            <a:gdLst>
              <a:gd name="connsiteX0" fmla="*/ 907576 w 1815153"/>
              <a:gd name="connsiteY0" fmla="*/ 361283 h 361283"/>
              <a:gd name="connsiteX1" fmla="*/ 746105 w 1815153"/>
              <a:gd name="connsiteY1" fmla="*/ 180975 h 361283"/>
              <a:gd name="connsiteX2" fmla="*/ 0 w 1815153"/>
              <a:gd name="connsiteY2" fmla="*/ 180975 h 361283"/>
              <a:gd name="connsiteX3" fmla="*/ 0 w 1815153"/>
              <a:gd name="connsiteY3" fmla="*/ 0 h 361283"/>
              <a:gd name="connsiteX4" fmla="*/ 1815153 w 1815153"/>
              <a:gd name="connsiteY4" fmla="*/ 0 h 361283"/>
              <a:gd name="connsiteX5" fmla="*/ 1815153 w 1815153"/>
              <a:gd name="connsiteY5" fmla="*/ 180975 h 361283"/>
              <a:gd name="connsiteX6" fmla="*/ 1069048 w 1815153"/>
              <a:gd name="connsiteY6" fmla="*/ 180975 h 361283"/>
              <a:gd name="connsiteX7" fmla="*/ 907576 w 1815153"/>
              <a:gd name="connsiteY7" fmla="*/ 361283 h 36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5153" h="361283">
                <a:moveTo>
                  <a:pt x="907576" y="361283"/>
                </a:moveTo>
                <a:lnTo>
                  <a:pt x="746105" y="180975"/>
                </a:lnTo>
                <a:lnTo>
                  <a:pt x="0" y="180975"/>
                </a:lnTo>
                <a:lnTo>
                  <a:pt x="0" y="0"/>
                </a:lnTo>
                <a:lnTo>
                  <a:pt x="1815153" y="0"/>
                </a:lnTo>
                <a:lnTo>
                  <a:pt x="1815153" y="180975"/>
                </a:lnTo>
                <a:lnTo>
                  <a:pt x="1069048" y="180975"/>
                </a:lnTo>
                <a:lnTo>
                  <a:pt x="907576" y="361283"/>
                </a:ln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sp>
        <p:nvSpPr>
          <p:cNvPr id="14" name="Freeform 74">
            <a:extLst>
              <a:ext uri="{FF2B5EF4-FFF2-40B4-BE49-F238E27FC236}">
                <a16:creationId xmlns:a16="http://schemas.microsoft.com/office/drawing/2014/main" id="{F1063CE1-F936-CA1C-DF2C-9BF8D564FEBA}"/>
              </a:ext>
            </a:extLst>
          </p:cNvPr>
          <p:cNvSpPr/>
          <p:nvPr/>
        </p:nvSpPr>
        <p:spPr>
          <a:xfrm flipH="1" flipV="1">
            <a:off x="2321816" y="3289414"/>
            <a:ext cx="1815153" cy="361283"/>
          </a:xfrm>
          <a:custGeom>
            <a:avLst/>
            <a:gdLst>
              <a:gd name="connsiteX0" fmla="*/ 1815153 w 1815153"/>
              <a:gd name="connsiteY0" fmla="*/ 361283 h 361283"/>
              <a:gd name="connsiteX1" fmla="*/ 0 w 1815153"/>
              <a:gd name="connsiteY1" fmla="*/ 361283 h 361283"/>
              <a:gd name="connsiteX2" fmla="*/ 0 w 1815153"/>
              <a:gd name="connsiteY2" fmla="*/ 180308 h 361283"/>
              <a:gd name="connsiteX3" fmla="*/ 746105 w 1815153"/>
              <a:gd name="connsiteY3" fmla="*/ 180308 h 361283"/>
              <a:gd name="connsiteX4" fmla="*/ 907576 w 1815153"/>
              <a:gd name="connsiteY4" fmla="*/ 0 h 361283"/>
              <a:gd name="connsiteX5" fmla="*/ 1069048 w 1815153"/>
              <a:gd name="connsiteY5" fmla="*/ 180308 h 361283"/>
              <a:gd name="connsiteX6" fmla="*/ 1815153 w 1815153"/>
              <a:gd name="connsiteY6" fmla="*/ 180308 h 361283"/>
              <a:gd name="connsiteX7" fmla="*/ 1815153 w 1815153"/>
              <a:gd name="connsiteY7" fmla="*/ 361283 h 36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5153" h="361283">
                <a:moveTo>
                  <a:pt x="1815153" y="361283"/>
                </a:moveTo>
                <a:lnTo>
                  <a:pt x="0" y="361283"/>
                </a:lnTo>
                <a:lnTo>
                  <a:pt x="0" y="180308"/>
                </a:lnTo>
                <a:lnTo>
                  <a:pt x="746105" y="180308"/>
                </a:lnTo>
                <a:lnTo>
                  <a:pt x="907576" y="0"/>
                </a:lnTo>
                <a:lnTo>
                  <a:pt x="1069048" y="180308"/>
                </a:lnTo>
                <a:lnTo>
                  <a:pt x="1815153" y="180308"/>
                </a:lnTo>
                <a:lnTo>
                  <a:pt x="1815153" y="361283"/>
                </a:ln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sp>
        <p:nvSpPr>
          <p:cNvPr id="15" name="Freeform 73">
            <a:extLst>
              <a:ext uri="{FF2B5EF4-FFF2-40B4-BE49-F238E27FC236}">
                <a16:creationId xmlns:a16="http://schemas.microsoft.com/office/drawing/2014/main" id="{FA8B3674-9178-3E65-DCD6-3B22A489541C}"/>
              </a:ext>
            </a:extLst>
          </p:cNvPr>
          <p:cNvSpPr/>
          <p:nvPr/>
        </p:nvSpPr>
        <p:spPr>
          <a:xfrm flipH="1" flipV="1">
            <a:off x="6114974" y="3289414"/>
            <a:ext cx="1815153" cy="361283"/>
          </a:xfrm>
          <a:custGeom>
            <a:avLst/>
            <a:gdLst>
              <a:gd name="connsiteX0" fmla="*/ 1815153 w 1815153"/>
              <a:gd name="connsiteY0" fmla="*/ 361283 h 361283"/>
              <a:gd name="connsiteX1" fmla="*/ 0 w 1815153"/>
              <a:gd name="connsiteY1" fmla="*/ 361283 h 361283"/>
              <a:gd name="connsiteX2" fmla="*/ 0 w 1815153"/>
              <a:gd name="connsiteY2" fmla="*/ 180308 h 361283"/>
              <a:gd name="connsiteX3" fmla="*/ 746105 w 1815153"/>
              <a:gd name="connsiteY3" fmla="*/ 180308 h 361283"/>
              <a:gd name="connsiteX4" fmla="*/ 907576 w 1815153"/>
              <a:gd name="connsiteY4" fmla="*/ 0 h 361283"/>
              <a:gd name="connsiteX5" fmla="*/ 1069048 w 1815153"/>
              <a:gd name="connsiteY5" fmla="*/ 180308 h 361283"/>
              <a:gd name="connsiteX6" fmla="*/ 1815153 w 1815153"/>
              <a:gd name="connsiteY6" fmla="*/ 180308 h 361283"/>
              <a:gd name="connsiteX7" fmla="*/ 1815153 w 1815153"/>
              <a:gd name="connsiteY7" fmla="*/ 361283 h 36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5153" h="361283">
                <a:moveTo>
                  <a:pt x="1815153" y="361283"/>
                </a:moveTo>
                <a:lnTo>
                  <a:pt x="0" y="361283"/>
                </a:lnTo>
                <a:lnTo>
                  <a:pt x="0" y="180308"/>
                </a:lnTo>
                <a:lnTo>
                  <a:pt x="746105" y="180308"/>
                </a:lnTo>
                <a:lnTo>
                  <a:pt x="907576" y="0"/>
                </a:lnTo>
                <a:lnTo>
                  <a:pt x="1069048" y="180308"/>
                </a:lnTo>
                <a:lnTo>
                  <a:pt x="1815153" y="180308"/>
                </a:lnTo>
                <a:lnTo>
                  <a:pt x="1815153" y="361283"/>
                </a:ln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sp>
        <p:nvSpPr>
          <p:cNvPr id="16" name="Freeform 78">
            <a:extLst>
              <a:ext uri="{FF2B5EF4-FFF2-40B4-BE49-F238E27FC236}">
                <a16:creationId xmlns:a16="http://schemas.microsoft.com/office/drawing/2014/main" id="{5583C0A3-B083-5803-4A33-1A3CE5B29472}"/>
              </a:ext>
            </a:extLst>
          </p:cNvPr>
          <p:cNvSpPr/>
          <p:nvPr/>
        </p:nvSpPr>
        <p:spPr>
          <a:xfrm flipH="1" flipV="1">
            <a:off x="8011553" y="3119061"/>
            <a:ext cx="1855865" cy="340703"/>
          </a:xfrm>
          <a:custGeom>
            <a:avLst/>
            <a:gdLst>
              <a:gd name="connsiteX0" fmla="*/ 907576 w 1815152"/>
              <a:gd name="connsiteY0" fmla="*/ 361283 h 361283"/>
              <a:gd name="connsiteX1" fmla="*/ 746105 w 1815152"/>
              <a:gd name="connsiteY1" fmla="*/ 180975 h 361283"/>
              <a:gd name="connsiteX2" fmla="*/ 0 w 1815152"/>
              <a:gd name="connsiteY2" fmla="*/ 180975 h 361283"/>
              <a:gd name="connsiteX3" fmla="*/ 0 w 1815152"/>
              <a:gd name="connsiteY3" fmla="*/ 0 h 361283"/>
              <a:gd name="connsiteX4" fmla="*/ 1815152 w 1815152"/>
              <a:gd name="connsiteY4" fmla="*/ 0 h 361283"/>
              <a:gd name="connsiteX5" fmla="*/ 1815152 w 1815152"/>
              <a:gd name="connsiteY5" fmla="*/ 180975 h 361283"/>
              <a:gd name="connsiteX6" fmla="*/ 1069048 w 1815152"/>
              <a:gd name="connsiteY6" fmla="*/ 180975 h 361283"/>
              <a:gd name="connsiteX7" fmla="*/ 907576 w 1815152"/>
              <a:gd name="connsiteY7" fmla="*/ 361283 h 36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5152" h="361283">
                <a:moveTo>
                  <a:pt x="907576" y="361283"/>
                </a:moveTo>
                <a:lnTo>
                  <a:pt x="746105" y="180975"/>
                </a:lnTo>
                <a:lnTo>
                  <a:pt x="0" y="180975"/>
                </a:lnTo>
                <a:lnTo>
                  <a:pt x="0" y="0"/>
                </a:lnTo>
                <a:lnTo>
                  <a:pt x="1815152" y="0"/>
                </a:lnTo>
                <a:lnTo>
                  <a:pt x="1815152" y="180975"/>
                </a:lnTo>
                <a:lnTo>
                  <a:pt x="1069048" y="180975"/>
                </a:lnTo>
                <a:lnTo>
                  <a:pt x="907576" y="361283"/>
                </a:ln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sp>
        <p:nvSpPr>
          <p:cNvPr id="17" name="Freeform 76">
            <a:extLst>
              <a:ext uri="{FF2B5EF4-FFF2-40B4-BE49-F238E27FC236}">
                <a16:creationId xmlns:a16="http://schemas.microsoft.com/office/drawing/2014/main" id="{052B37C7-5B78-0B61-F244-D6ECE49BBDFD}"/>
              </a:ext>
            </a:extLst>
          </p:cNvPr>
          <p:cNvSpPr/>
          <p:nvPr/>
        </p:nvSpPr>
        <p:spPr>
          <a:xfrm rot="10800000" flipV="1">
            <a:off x="9948844" y="3289904"/>
            <a:ext cx="1855865" cy="340703"/>
          </a:xfrm>
          <a:custGeom>
            <a:avLst/>
            <a:gdLst>
              <a:gd name="connsiteX0" fmla="*/ 907577 w 1815152"/>
              <a:gd name="connsiteY0" fmla="*/ 358903 h 358903"/>
              <a:gd name="connsiteX1" fmla="*/ 748236 w 1815152"/>
              <a:gd name="connsiteY1" fmla="*/ 180975 h 358903"/>
              <a:gd name="connsiteX2" fmla="*/ 90493 w 1815152"/>
              <a:gd name="connsiteY2" fmla="*/ 180975 h 358903"/>
              <a:gd name="connsiteX3" fmla="*/ 90488 w 1815152"/>
              <a:gd name="connsiteY3" fmla="*/ 180976 h 358903"/>
              <a:gd name="connsiteX4" fmla="*/ 0 w 1815152"/>
              <a:gd name="connsiteY4" fmla="*/ 90488 h 358903"/>
              <a:gd name="connsiteX5" fmla="*/ 90488 w 1815152"/>
              <a:gd name="connsiteY5" fmla="*/ 0 h 358903"/>
              <a:gd name="connsiteX6" fmla="*/ 1815152 w 1815152"/>
              <a:gd name="connsiteY6" fmla="*/ 0 h 358903"/>
              <a:gd name="connsiteX7" fmla="*/ 1815152 w 1815152"/>
              <a:gd name="connsiteY7" fmla="*/ 180975 h 358903"/>
              <a:gd name="connsiteX8" fmla="*/ 1066917 w 1815152"/>
              <a:gd name="connsiteY8" fmla="*/ 180975 h 358903"/>
              <a:gd name="connsiteX9" fmla="*/ 907577 w 1815152"/>
              <a:gd name="connsiteY9" fmla="*/ 358903 h 35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15152" h="358903">
                <a:moveTo>
                  <a:pt x="907577" y="358903"/>
                </a:moveTo>
                <a:lnTo>
                  <a:pt x="748236" y="180975"/>
                </a:lnTo>
                <a:lnTo>
                  <a:pt x="90493" y="180975"/>
                </a:lnTo>
                <a:lnTo>
                  <a:pt x="90488" y="180976"/>
                </a:lnTo>
                <a:cubicBezTo>
                  <a:pt x="40513" y="180976"/>
                  <a:pt x="0" y="140463"/>
                  <a:pt x="0" y="90488"/>
                </a:cubicBezTo>
                <a:cubicBezTo>
                  <a:pt x="0" y="40513"/>
                  <a:pt x="40513" y="0"/>
                  <a:pt x="90488" y="0"/>
                </a:cubicBezTo>
                <a:lnTo>
                  <a:pt x="1815152" y="0"/>
                </a:lnTo>
                <a:lnTo>
                  <a:pt x="1815152" y="180975"/>
                </a:lnTo>
                <a:lnTo>
                  <a:pt x="1066917" y="180975"/>
                </a:lnTo>
                <a:lnTo>
                  <a:pt x="907577" y="358903"/>
                </a:lnTo>
                <a:close/>
              </a:path>
            </a:pathLst>
          </a:custGeom>
          <a:solidFill>
            <a:srgbClr val="002F5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27000">
              <a:srgbClr val="000000">
                <a:alpha val="30000"/>
              </a:srgb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err="1">
              <a:solidFill>
                <a:srgbClr val="FFFFFF">
                  <a:lumMod val="100000"/>
                </a:srgbClr>
              </a:solidFill>
              <a:cs typeface="Segoe UI" panose="020B0502040204020203" pitchFamily="34" charset="0"/>
            </a:endParaRPr>
          </a:p>
        </p:txBody>
      </p:sp>
      <p:sp>
        <p:nvSpPr>
          <p:cNvPr id="18" name="Rechteck 28">
            <a:extLst>
              <a:ext uri="{FF2B5EF4-FFF2-40B4-BE49-F238E27FC236}">
                <a16:creationId xmlns:a16="http://schemas.microsoft.com/office/drawing/2014/main" id="{2ABBA8F3-5D2A-DC2D-CD39-FD4521A466D9}"/>
              </a:ext>
            </a:extLst>
          </p:cNvPr>
          <p:cNvSpPr>
            <a:spLocks/>
          </p:cNvSpPr>
          <p:nvPr/>
        </p:nvSpPr>
        <p:spPr bwMode="gray">
          <a:xfrm>
            <a:off x="2321816" y="3731305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2. ORD RFA Alignment</a:t>
            </a:r>
          </a:p>
        </p:txBody>
      </p:sp>
      <p:sp>
        <p:nvSpPr>
          <p:cNvPr id="19" name="Rechteck 28">
            <a:extLst>
              <a:ext uri="{FF2B5EF4-FFF2-40B4-BE49-F238E27FC236}">
                <a16:creationId xmlns:a16="http://schemas.microsoft.com/office/drawing/2014/main" id="{B006A90E-BD48-1630-4810-648F139C69BC}"/>
              </a:ext>
            </a:extLst>
          </p:cNvPr>
          <p:cNvSpPr>
            <a:spLocks/>
          </p:cNvSpPr>
          <p:nvPr/>
        </p:nvSpPr>
        <p:spPr bwMode="gray">
          <a:xfrm>
            <a:off x="2321816" y="4147907"/>
            <a:ext cx="1815153" cy="124348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r>
              <a:rPr lang="en-US" sz="1400"/>
              <a:t>Aligned existing ORD processes into a unified AMP process for RFA solicitation </a:t>
            </a:r>
          </a:p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endParaRPr lang="en-US" altLang="de-DE" sz="1600">
              <a:ea typeface="Arial Unicode MS"/>
              <a:cs typeface="Arial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6525E9-47AA-3FD4-8035-C71261F36C29}"/>
              </a:ext>
            </a:extLst>
          </p:cNvPr>
          <p:cNvCxnSpPr>
            <a:cxnSpLocks/>
          </p:cNvCxnSpPr>
          <p:nvPr/>
        </p:nvCxnSpPr>
        <p:spPr>
          <a:xfrm>
            <a:off x="3229393" y="2472296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llipse 43">
            <a:extLst>
              <a:ext uri="{FF2B5EF4-FFF2-40B4-BE49-F238E27FC236}">
                <a16:creationId xmlns:a16="http://schemas.microsoft.com/office/drawing/2014/main" id="{0071A67B-D44A-96F5-0BFB-27D24A1A4A64}"/>
              </a:ext>
            </a:extLst>
          </p:cNvPr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748155" y="1429212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pic>
        <p:nvPicPr>
          <p:cNvPr id="22" name="Graphic 21" descr="Workflow with solid fill">
            <a:extLst>
              <a:ext uri="{FF2B5EF4-FFF2-40B4-BE49-F238E27FC236}">
                <a16:creationId xmlns:a16="http://schemas.microsoft.com/office/drawing/2014/main" id="{106ECDEF-BD2C-7EFB-C1C1-2D6D26BBA86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901483" y="1582540"/>
            <a:ext cx="655821" cy="655821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494AB4B-A053-FFF7-8A63-5C863B74AD7C}"/>
              </a:ext>
            </a:extLst>
          </p:cNvPr>
          <p:cNvCxnSpPr>
            <a:cxnSpLocks/>
          </p:cNvCxnSpPr>
          <p:nvPr/>
        </p:nvCxnSpPr>
        <p:spPr>
          <a:xfrm>
            <a:off x="5125972" y="3630607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Ellipse 43">
            <a:extLst>
              <a:ext uri="{FF2B5EF4-FFF2-40B4-BE49-F238E27FC236}">
                <a16:creationId xmlns:a16="http://schemas.microsoft.com/office/drawing/2014/main" id="{E9D716E2-D617-916C-BAD7-1A094082B8B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644734" y="4394059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sp>
        <p:nvSpPr>
          <p:cNvPr id="26" name="Rechteck 28">
            <a:extLst>
              <a:ext uri="{FF2B5EF4-FFF2-40B4-BE49-F238E27FC236}">
                <a16:creationId xmlns:a16="http://schemas.microsoft.com/office/drawing/2014/main" id="{149C8E58-E994-9DCD-1A50-0E4FDC46AFED}"/>
              </a:ext>
            </a:extLst>
          </p:cNvPr>
          <p:cNvSpPr>
            <a:spLocks/>
          </p:cNvSpPr>
          <p:nvPr/>
        </p:nvSpPr>
        <p:spPr bwMode="gray">
          <a:xfrm>
            <a:off x="4218396" y="1178110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3. Key Aspects of Accelerated Review </a:t>
            </a:r>
          </a:p>
        </p:txBody>
      </p:sp>
      <p:sp>
        <p:nvSpPr>
          <p:cNvPr id="27" name="Rechteck 28">
            <a:extLst>
              <a:ext uri="{FF2B5EF4-FFF2-40B4-BE49-F238E27FC236}">
                <a16:creationId xmlns:a16="http://schemas.microsoft.com/office/drawing/2014/main" id="{ED96CE3B-740B-3F5F-8331-159F90CB0544}"/>
              </a:ext>
            </a:extLst>
          </p:cNvPr>
          <p:cNvSpPr>
            <a:spLocks/>
          </p:cNvSpPr>
          <p:nvPr/>
        </p:nvSpPr>
        <p:spPr bwMode="gray">
          <a:xfrm>
            <a:off x="4218396" y="1698354"/>
            <a:ext cx="1815153" cy="124348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r>
              <a:rPr lang="en-US" sz="1400"/>
              <a:t>Identified elements of RFA process necessary for accelerated review </a:t>
            </a:r>
            <a:endParaRPr lang="en-US" altLang="de-DE" sz="1400">
              <a:ea typeface="Arial Unicode MS"/>
              <a:cs typeface="Arial" pitchFamily="34" charset="0"/>
            </a:endParaRPr>
          </a:p>
        </p:txBody>
      </p:sp>
      <p:pic>
        <p:nvPicPr>
          <p:cNvPr id="28" name="Graphic 27" descr="Key with solid fill">
            <a:extLst>
              <a:ext uri="{FF2B5EF4-FFF2-40B4-BE49-F238E27FC236}">
                <a16:creationId xmlns:a16="http://schemas.microsoft.com/office/drawing/2014/main" id="{C536D718-130A-DB8B-26E2-4A7082836A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772542" y="4521867"/>
            <a:ext cx="706859" cy="706859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7ADE994-65D1-8347-DC11-C0E3E4B01FA8}"/>
              </a:ext>
            </a:extLst>
          </p:cNvPr>
          <p:cNvCxnSpPr>
            <a:cxnSpLocks/>
          </p:cNvCxnSpPr>
          <p:nvPr/>
        </p:nvCxnSpPr>
        <p:spPr>
          <a:xfrm>
            <a:off x="7022551" y="2472296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llipse 43">
            <a:extLst>
              <a:ext uri="{FF2B5EF4-FFF2-40B4-BE49-F238E27FC236}">
                <a16:creationId xmlns:a16="http://schemas.microsoft.com/office/drawing/2014/main" id="{CD527D45-08CC-C821-AB8F-C7AB7BC0D845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541313" y="1429212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sp>
        <p:nvSpPr>
          <p:cNvPr id="31" name="Rechteck 28">
            <a:extLst>
              <a:ext uri="{FF2B5EF4-FFF2-40B4-BE49-F238E27FC236}">
                <a16:creationId xmlns:a16="http://schemas.microsoft.com/office/drawing/2014/main" id="{6556CBE5-F6B4-E815-58D1-4091DC1BB5FD}"/>
              </a:ext>
            </a:extLst>
          </p:cNvPr>
          <p:cNvSpPr>
            <a:spLocks/>
          </p:cNvSpPr>
          <p:nvPr/>
        </p:nvSpPr>
        <p:spPr bwMode="gray">
          <a:xfrm>
            <a:off x="6114974" y="3731305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4. Development of Initial Policy</a:t>
            </a:r>
          </a:p>
        </p:txBody>
      </p:sp>
      <p:sp>
        <p:nvSpPr>
          <p:cNvPr id="32" name="Rechteck 28">
            <a:extLst>
              <a:ext uri="{FF2B5EF4-FFF2-40B4-BE49-F238E27FC236}">
                <a16:creationId xmlns:a16="http://schemas.microsoft.com/office/drawing/2014/main" id="{64A1D38A-81E6-1EF2-1C9F-A7CA00388454}"/>
              </a:ext>
            </a:extLst>
          </p:cNvPr>
          <p:cNvSpPr>
            <a:spLocks/>
          </p:cNvSpPr>
          <p:nvPr/>
        </p:nvSpPr>
        <p:spPr bwMode="gray">
          <a:xfrm>
            <a:off x="6114974" y="4147907"/>
            <a:ext cx="1815153" cy="124348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r>
              <a:rPr lang="en-US" sz="1400"/>
              <a:t>Drafted accelerated review policy utilizing existing ORD accelerated processes when appropriate</a:t>
            </a:r>
          </a:p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endParaRPr lang="en-US" altLang="de-DE" sz="1600">
              <a:ea typeface="Arial Unicode MS"/>
              <a:cs typeface="Arial" pitchFamily="34" charset="0"/>
            </a:endParaRPr>
          </a:p>
        </p:txBody>
      </p:sp>
      <p:pic>
        <p:nvPicPr>
          <p:cNvPr id="33" name="Graphic 32" descr="Document with solid fill">
            <a:extLst>
              <a:ext uri="{FF2B5EF4-FFF2-40B4-BE49-F238E27FC236}">
                <a16:creationId xmlns:a16="http://schemas.microsoft.com/office/drawing/2014/main" id="{B974E3AC-C9B7-3380-3962-A1131D4A9F6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94642" y="1582539"/>
            <a:ext cx="655821" cy="655821"/>
          </a:xfrm>
          <a:prstGeom prst="rect">
            <a:avLst/>
          </a:prstGeom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DCB5DD9-9CE5-71EC-0D28-795C86B262B2}"/>
              </a:ext>
            </a:extLst>
          </p:cNvPr>
          <p:cNvCxnSpPr>
            <a:cxnSpLocks/>
          </p:cNvCxnSpPr>
          <p:nvPr/>
        </p:nvCxnSpPr>
        <p:spPr>
          <a:xfrm>
            <a:off x="8939485" y="3630607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Ellipse 43">
            <a:extLst>
              <a:ext uri="{FF2B5EF4-FFF2-40B4-BE49-F238E27FC236}">
                <a16:creationId xmlns:a16="http://schemas.microsoft.com/office/drawing/2014/main" id="{B485744B-6A8F-4731-2948-B63C8584EF9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483380" y="4394059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sp>
        <p:nvSpPr>
          <p:cNvPr id="36" name="Rechteck 28">
            <a:extLst>
              <a:ext uri="{FF2B5EF4-FFF2-40B4-BE49-F238E27FC236}">
                <a16:creationId xmlns:a16="http://schemas.microsoft.com/office/drawing/2014/main" id="{776762ED-2265-0570-237F-258E6D796FC1}"/>
              </a:ext>
            </a:extLst>
          </p:cNvPr>
          <p:cNvSpPr>
            <a:spLocks/>
          </p:cNvSpPr>
          <p:nvPr/>
        </p:nvSpPr>
        <p:spPr bwMode="gray">
          <a:xfrm>
            <a:off x="8031910" y="1178110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5. Received Work Group Feedback</a:t>
            </a:r>
          </a:p>
        </p:txBody>
      </p:sp>
      <p:sp>
        <p:nvSpPr>
          <p:cNvPr id="37" name="Rechteck 28">
            <a:extLst>
              <a:ext uri="{FF2B5EF4-FFF2-40B4-BE49-F238E27FC236}">
                <a16:creationId xmlns:a16="http://schemas.microsoft.com/office/drawing/2014/main" id="{FA529E8F-C7D7-7D96-1DC5-C00088CFB26B}"/>
              </a:ext>
            </a:extLst>
          </p:cNvPr>
          <p:cNvSpPr>
            <a:spLocks/>
          </p:cNvSpPr>
          <p:nvPr/>
        </p:nvSpPr>
        <p:spPr bwMode="gray">
          <a:xfrm>
            <a:off x="8031910" y="1698354"/>
            <a:ext cx="1815153" cy="124348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r>
              <a:rPr lang="en-US" sz="1400"/>
              <a:t>Conducted work group session of Research Service administrators to assess feasibility draft of policy</a:t>
            </a:r>
            <a:endParaRPr lang="en-US" altLang="de-DE" sz="1400">
              <a:ea typeface="Arial Unicode MS"/>
              <a:cs typeface="Arial" pitchFamily="34" charset="0"/>
            </a:endParaRPr>
          </a:p>
        </p:txBody>
      </p:sp>
      <p:pic>
        <p:nvPicPr>
          <p:cNvPr id="38" name="Graphic 37" descr="Remote work with solid fill">
            <a:extLst>
              <a:ext uri="{FF2B5EF4-FFF2-40B4-BE49-F238E27FC236}">
                <a16:creationId xmlns:a16="http://schemas.microsoft.com/office/drawing/2014/main" id="{3783D8DF-0B3B-4350-8DA7-95B4BC680B9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636706" y="4547386"/>
            <a:ext cx="655821" cy="655821"/>
          </a:xfrm>
          <a:prstGeom prst="rect">
            <a:avLst/>
          </a:prstGeom>
        </p:spPr>
      </p:pic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C60535D-D70C-218F-5ED8-C02783897F2D}"/>
              </a:ext>
            </a:extLst>
          </p:cNvPr>
          <p:cNvCxnSpPr>
            <a:cxnSpLocks/>
          </p:cNvCxnSpPr>
          <p:nvPr/>
        </p:nvCxnSpPr>
        <p:spPr>
          <a:xfrm>
            <a:off x="10876776" y="2472296"/>
            <a:ext cx="0" cy="602901"/>
          </a:xfrm>
          <a:prstGeom prst="line">
            <a:avLst/>
          </a:prstGeom>
          <a:ln w="9525" cap="flat" cmpd="sng" algn="ctr">
            <a:solidFill>
              <a:srgbClr val="D9D9D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Ellipse 43">
            <a:extLst>
              <a:ext uri="{FF2B5EF4-FFF2-40B4-BE49-F238E27FC236}">
                <a16:creationId xmlns:a16="http://schemas.microsoft.com/office/drawing/2014/main" id="{A552AAEA-C6BC-F0AF-C2D5-780CE9CAEAA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0395538" y="1429212"/>
            <a:ext cx="962476" cy="962476"/>
          </a:xfrm>
          <a:prstGeom prst="ellipse">
            <a:avLst/>
          </a:prstGeom>
          <a:ln>
            <a:solidFill>
              <a:srgbClr val="002F56"/>
            </a:solidFill>
            <a:headEnd type="none" w="med" len="med"/>
            <a:tailEnd type="none" w="med" len="med"/>
          </a:ln>
          <a:extLst>
            <a:ext uri="{53640926-AAD7-44D8-BBD7-CCE9431645EC}">
              <a14:shadowObscured xmlns:a14="http://schemas.microsoft.com/office/drawing/2010/main"/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>
              <a:buClr>
                <a:srgbClr val="3C464B"/>
              </a:buClr>
            </a:pPr>
            <a:endParaRPr lang="en-US" sz="1400">
              <a:solidFill>
                <a:srgbClr val="000000">
                  <a:lumMod val="100000"/>
                </a:srgbClr>
              </a:solidFill>
              <a:ea typeface="Arial Unicode MS"/>
            </a:endParaRPr>
          </a:p>
        </p:txBody>
      </p:sp>
      <p:sp>
        <p:nvSpPr>
          <p:cNvPr id="41" name="Rechteck 28">
            <a:extLst>
              <a:ext uri="{FF2B5EF4-FFF2-40B4-BE49-F238E27FC236}">
                <a16:creationId xmlns:a16="http://schemas.microsoft.com/office/drawing/2014/main" id="{3BEC35E0-D894-5E16-5657-B3EB9A203F3E}"/>
              </a:ext>
            </a:extLst>
          </p:cNvPr>
          <p:cNvSpPr>
            <a:spLocks/>
          </p:cNvSpPr>
          <p:nvPr/>
        </p:nvSpPr>
        <p:spPr bwMode="gray">
          <a:xfrm>
            <a:off x="9969199" y="3731305"/>
            <a:ext cx="1815153" cy="502203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0" tIns="0" rIns="0" bIns="0" numCol="1" spcCol="72000" rtlCol="0" anchor="ctr" anchorCtr="0">
            <a:noAutofit/>
          </a:bodyPr>
          <a:lstStyle/>
          <a:p>
            <a:pPr algn="ctr">
              <a:spcBef>
                <a:spcPts val="600"/>
              </a:spcBef>
              <a:tabLst>
                <a:tab pos="1255085" algn="r"/>
              </a:tabLst>
              <a:defRPr/>
            </a:pPr>
            <a:r>
              <a:rPr lang="en-US" altLang="de-DE" sz="1600" b="1">
                <a:ea typeface="Arial Unicode MS"/>
              </a:rPr>
              <a:t>6. Policy Finalization  </a:t>
            </a:r>
          </a:p>
        </p:txBody>
      </p:sp>
      <p:sp>
        <p:nvSpPr>
          <p:cNvPr id="42" name="Rechteck 28">
            <a:extLst>
              <a:ext uri="{FF2B5EF4-FFF2-40B4-BE49-F238E27FC236}">
                <a16:creationId xmlns:a16="http://schemas.microsoft.com/office/drawing/2014/main" id="{47F6B9C2-7EB6-9E74-5617-75F98535C1D6}"/>
              </a:ext>
            </a:extLst>
          </p:cNvPr>
          <p:cNvSpPr>
            <a:spLocks/>
          </p:cNvSpPr>
          <p:nvPr/>
        </p:nvSpPr>
        <p:spPr bwMode="gray">
          <a:xfrm>
            <a:off x="9969199" y="4147907"/>
            <a:ext cx="1815153" cy="1243482"/>
          </a:xfrm>
          <a:prstGeom prst="rect">
            <a:avLst/>
          </a:prstGeom>
          <a:noFill/>
          <a:ln w="19050">
            <a:noFill/>
            <a:miter lim="800000"/>
          </a:ln>
          <a:effectLst/>
        </p:spPr>
        <p:txBody>
          <a:bodyPr wrap="square" lIns="90000" tIns="90000" rIns="90000" bIns="90000" numCol="1" spcCol="72000" rtlCol="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chemeClr val="accent1">
                  <a:lumMod val="100000"/>
                </a:schemeClr>
              </a:buClr>
              <a:buSzPct val="100000"/>
              <a:tabLst>
                <a:tab pos="1255085" algn="r"/>
              </a:tabLst>
              <a:defRPr/>
            </a:pPr>
            <a:r>
              <a:rPr lang="en-US" altLang="de-DE" sz="1400">
                <a:ea typeface="Arial Unicode MS"/>
                <a:cs typeface="Arial" pitchFamily="34" charset="0"/>
              </a:rPr>
              <a:t>Policy has been approved by ORD leadership for PO AMP prototype use</a:t>
            </a:r>
          </a:p>
        </p:txBody>
      </p:sp>
      <p:pic>
        <p:nvPicPr>
          <p:cNvPr id="43" name="Graphic 42" descr="Online meeting outline">
            <a:extLst>
              <a:ext uri="{FF2B5EF4-FFF2-40B4-BE49-F238E27FC236}">
                <a16:creationId xmlns:a16="http://schemas.microsoft.com/office/drawing/2014/main" id="{CDB8BFBE-CEE8-9ED2-C4EB-DFFD5B8FB7F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548864" y="1595805"/>
            <a:ext cx="655821" cy="655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99624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A1CE-B945-9202-2BB5-8FEAE0AAA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To qualify for an accelerated review, a research proposal must meet one of the two qualification criteri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42B320-3D77-5153-A270-AE48CF28B5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8D5739-4B17-E572-4F1A-831149DF2A58}"/>
              </a:ext>
            </a:extLst>
          </p:cNvPr>
          <p:cNvSpPr/>
          <p:nvPr/>
        </p:nvSpPr>
        <p:spPr>
          <a:xfrm>
            <a:off x="616805" y="1066414"/>
            <a:ext cx="4222920" cy="5052526"/>
          </a:xfrm>
          <a:prstGeom prst="rect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9CC0904-E610-82A9-3052-22F10F74B9CA}"/>
              </a:ext>
            </a:extLst>
          </p:cNvPr>
          <p:cNvSpPr/>
          <p:nvPr/>
        </p:nvSpPr>
        <p:spPr>
          <a:xfrm>
            <a:off x="5143055" y="1050477"/>
            <a:ext cx="4222919" cy="5124480"/>
          </a:xfrm>
          <a:prstGeom prst="rect">
            <a:avLst/>
          </a:prstGeom>
          <a:noFill/>
          <a:ln w="28575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07082E5-E339-3338-D829-270B0D1EAEF9}"/>
              </a:ext>
            </a:extLst>
          </p:cNvPr>
          <p:cNvSpPr txBox="1"/>
          <p:nvPr/>
        </p:nvSpPr>
        <p:spPr>
          <a:xfrm>
            <a:off x="665687" y="996808"/>
            <a:ext cx="4222919" cy="5124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b="1"/>
              <a:t>Accelerated Review</a:t>
            </a:r>
          </a:p>
          <a:p>
            <a:pPr marL="0" indent="0" algn="ctr">
              <a:buNone/>
            </a:pPr>
            <a:endParaRPr lang="en-US" sz="1500" b="1"/>
          </a:p>
          <a:p>
            <a:r>
              <a:rPr lang="en-US" sz="1400" b="1">
                <a:effectLst/>
                <a:ea typeface="Arial" panose="020B0604020202020204" pitchFamily="34" charset="0"/>
              </a:rPr>
              <a:t>Prioritize studies that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Arial" panose="020B0604020202020204" pitchFamily="34" charset="0"/>
              </a:rPr>
              <a:t>T</a:t>
            </a:r>
            <a:r>
              <a:rPr lang="en-US" sz="1400">
                <a:effectLst/>
                <a:ea typeface="Arial" panose="020B0604020202020204" pitchFamily="34" charset="0"/>
              </a:rPr>
              <a:t>ake a team-based approach </a:t>
            </a:r>
            <a:endParaRPr lang="en-US" sz="1400">
              <a:ea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Arial" panose="020B0604020202020204" pitchFamily="34" charset="0"/>
              </a:rPr>
              <a:t>U</a:t>
            </a:r>
            <a:r>
              <a:rPr lang="en-US" sz="1400">
                <a:effectLst/>
                <a:ea typeface="Arial" panose="020B0604020202020204" pitchFamily="34" charset="0"/>
              </a:rPr>
              <a:t>tilize enterprise-wide infra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ffectLst/>
                <a:ea typeface="Arial" panose="020B0604020202020204" pitchFamily="34" charset="0"/>
              </a:rPr>
              <a:t>Harness multidisciplinary expertise and resourc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Arial" panose="020B0604020202020204" pitchFamily="34" charset="0"/>
              </a:rPr>
              <a:t>Highlight </a:t>
            </a:r>
            <a:r>
              <a:rPr lang="en-US" sz="1400">
                <a:effectLst/>
                <a:ea typeface="Arial" panose="020B0604020202020204" pitchFamily="34" charset="0"/>
              </a:rPr>
              <a:t>strengths of facilities and patient populations across the VA enterprise </a:t>
            </a:r>
            <a:endParaRPr lang="en-US" sz="1400" b="1"/>
          </a:p>
          <a:p>
            <a:pPr marL="0" indent="0">
              <a:buNone/>
            </a:pPr>
            <a:endParaRPr lang="en-US" sz="1400" b="1"/>
          </a:p>
          <a:p>
            <a:pPr marL="0" indent="0">
              <a:buNone/>
            </a:pPr>
            <a:r>
              <a:rPr lang="en-US" sz="1400" b="1"/>
              <a:t>Applies to research that: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400"/>
              <a:t>Has the potential for immediate and/or direct impact on clinical care or clinical decision making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400"/>
          </a:p>
          <a:p>
            <a:pPr>
              <a:buFont typeface="Wingdings" panose="05000000000000000000" pitchFamily="2" charset="2"/>
              <a:buChar char="ü"/>
            </a:pPr>
            <a:r>
              <a:rPr lang="en-US" sz="1400"/>
              <a:t>Are pilot studies responsive to critical problems that require initial findings to establish evidence for robust priority projects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400"/>
          </a:p>
          <a:p>
            <a:pPr>
              <a:buFont typeface="Wingdings" panose="05000000000000000000" pitchFamily="2" charset="2"/>
              <a:buChar char="ü"/>
            </a:pPr>
            <a:r>
              <a:rPr lang="en-US" sz="1400"/>
              <a:t>Addresses topics that urgently address an issue of importance to the Veteran population  </a:t>
            </a:r>
          </a:p>
          <a:p>
            <a:endParaRPr lang="en-US" sz="1400"/>
          </a:p>
          <a:p>
            <a:r>
              <a:rPr lang="en-US" sz="1400" b="1"/>
              <a:t>Example: </a:t>
            </a:r>
            <a:r>
              <a:rPr lang="en-US" sz="1400"/>
              <a:t>A study on low burden metastatic disease where a knowledge gap exists as to whether therapy can be discontinued safel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14E4EE0-75B3-7138-A845-451DDD602A31}"/>
              </a:ext>
            </a:extLst>
          </p:cNvPr>
          <p:cNvSpPr txBox="1"/>
          <p:nvPr/>
        </p:nvSpPr>
        <p:spPr>
          <a:xfrm>
            <a:off x="5191937" y="1008008"/>
            <a:ext cx="4222919" cy="5124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b="1"/>
              <a:t>Critical Accelerated Review</a:t>
            </a:r>
          </a:p>
          <a:p>
            <a:pPr marL="0" indent="0" algn="ctr">
              <a:buNone/>
            </a:pPr>
            <a:endParaRPr lang="en-US" sz="1500" b="1"/>
          </a:p>
          <a:p>
            <a:r>
              <a:rPr lang="en-US" sz="1400" b="1"/>
              <a:t>Must meet accelerated review criteria for consideration for critical accelerated review </a:t>
            </a:r>
          </a:p>
          <a:p>
            <a:pPr marL="0" indent="0">
              <a:buNone/>
            </a:pPr>
            <a:endParaRPr lang="en-US" sz="1400" b="1"/>
          </a:p>
          <a:p>
            <a:pPr marL="0" indent="0">
              <a:buNone/>
            </a:pPr>
            <a:r>
              <a:rPr lang="en-US" sz="1400" b="1"/>
              <a:t>Prioritizes studies that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Meet the standards of team-based, enterprise-wide multidisciplinary expertise and resources while highlighting strengths of </a:t>
            </a:r>
            <a:r>
              <a:rPr lang="en-US" sz="1400">
                <a:effectLst/>
                <a:ea typeface="Arial" panose="020B0604020202020204" pitchFamily="34" charset="0"/>
              </a:rPr>
              <a:t>facilities and patient populations across the VA enterprise </a:t>
            </a:r>
            <a:endParaRPr lang="en-US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ddress a topic of high urgency to public health or clinical/VHA leadership </a:t>
            </a:r>
            <a:endParaRPr lang="en-US" sz="1400" b="1"/>
          </a:p>
          <a:p>
            <a:pPr marL="0" indent="0">
              <a:buNone/>
            </a:pPr>
            <a:endParaRPr lang="en-US" sz="1400" b="1"/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400" b="1"/>
              <a:t>Applies to research that: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en-US" sz="1400"/>
              <a:t>Has high Congressional, Presidential, ORD, or clinical priority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400"/>
          </a:p>
          <a:p>
            <a:pPr>
              <a:buFont typeface="Wingdings" panose="05000000000000000000" pitchFamily="2" charset="2"/>
              <a:buChar char="ü"/>
            </a:pPr>
            <a:r>
              <a:rPr lang="en-US" sz="1400"/>
              <a:t>Addresses illnesses that require immediate action to reduce high hospitalizations, mortality, and morbidity </a:t>
            </a:r>
          </a:p>
          <a:p>
            <a:pPr>
              <a:buFont typeface="Wingdings" panose="05000000000000000000" pitchFamily="2" charset="2"/>
              <a:buChar char="ü"/>
            </a:pPr>
            <a:endParaRPr lang="en-US" sz="1400"/>
          </a:p>
          <a:p>
            <a:endParaRPr lang="en-US" sz="1400"/>
          </a:p>
          <a:p>
            <a:pPr marL="0" indent="0">
              <a:buNone/>
            </a:pPr>
            <a:r>
              <a:rPr lang="en-US" sz="1400" b="1"/>
              <a:t>Example:</a:t>
            </a:r>
            <a:r>
              <a:rPr lang="en-US" sz="1400"/>
              <a:t> COVID-19 HITCH Study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777AE28-E042-7AE8-3B85-8F15ED2CD0B3}"/>
              </a:ext>
            </a:extLst>
          </p:cNvPr>
          <p:cNvGraphicFramePr>
            <a:graphicFrameLocks noGrp="1"/>
          </p:cNvGraphicFramePr>
          <p:nvPr/>
        </p:nvGraphicFramePr>
        <p:xfrm>
          <a:off x="9588660" y="1059438"/>
          <a:ext cx="2417810" cy="860619"/>
        </p:xfrm>
        <a:graphic>
          <a:graphicData uri="http://schemas.openxmlformats.org/drawingml/2006/table">
            <a:tbl>
              <a:tblPr/>
              <a:tblGrid>
                <a:gridCol w="2417810">
                  <a:extLst>
                    <a:ext uri="{9D8B030D-6E8A-4147-A177-3AD203B41FA5}">
                      <a16:colId xmlns:a16="http://schemas.microsoft.com/office/drawing/2014/main" val="1550051206"/>
                    </a:ext>
                  </a:extLst>
                </a:gridCol>
              </a:tblGrid>
              <a:tr h="860619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500" b="1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tandard Review</a:t>
                      </a:r>
                    </a:p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Current state</a:t>
                      </a:r>
                    </a:p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emains in place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79345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553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092BA-7BB4-908C-0FE1-724A4A9E9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We have established two different options for accelerated re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0A2B884-B398-297F-ADAB-39D4A7B86F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8C8EB14-B323-F65A-CA1B-8F367B5C01C4}"/>
              </a:ext>
            </a:extLst>
          </p:cNvPr>
          <p:cNvGraphicFramePr>
            <a:graphicFrameLocks noGrp="1"/>
          </p:cNvGraphicFramePr>
          <p:nvPr/>
        </p:nvGraphicFramePr>
        <p:xfrm>
          <a:off x="390525" y="885438"/>
          <a:ext cx="7775493" cy="5087123"/>
        </p:xfrm>
        <a:graphic>
          <a:graphicData uri="http://schemas.openxmlformats.org/drawingml/2006/table">
            <a:tbl>
              <a:tblPr/>
              <a:tblGrid>
                <a:gridCol w="1952550">
                  <a:extLst>
                    <a:ext uri="{9D8B030D-6E8A-4147-A177-3AD203B41FA5}">
                      <a16:colId xmlns:a16="http://schemas.microsoft.com/office/drawing/2014/main" val="3492686896"/>
                    </a:ext>
                  </a:extLst>
                </a:gridCol>
                <a:gridCol w="2837709">
                  <a:extLst>
                    <a:ext uri="{9D8B030D-6E8A-4147-A177-3AD203B41FA5}">
                      <a16:colId xmlns:a16="http://schemas.microsoft.com/office/drawing/2014/main" val="2428596615"/>
                    </a:ext>
                  </a:extLst>
                </a:gridCol>
                <a:gridCol w="2985234">
                  <a:extLst>
                    <a:ext uri="{9D8B030D-6E8A-4147-A177-3AD203B41FA5}">
                      <a16:colId xmlns:a16="http://schemas.microsoft.com/office/drawing/2014/main" val="3254813810"/>
                    </a:ext>
                  </a:extLst>
                </a:gridCol>
              </a:tblGrid>
              <a:tr h="522750">
                <a:tc>
                  <a:txBody>
                    <a:bodyPr/>
                    <a:lstStyle/>
                    <a:p>
                      <a:pPr algn="l" fontAlgn="auto"/>
                      <a:r>
                        <a:rPr lang="en-US" sz="1400" b="1" i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5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ccelerated Review (AMP)​</a:t>
                      </a:r>
                      <a:endParaRPr lang="en-US" sz="1400" b="1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5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ritical Accelerated Review (AMP)​</a:t>
                      </a:r>
                      <a:endParaRPr lang="en-US" sz="1400" b="1" i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F5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988910"/>
                  </a:ext>
                </a:extLst>
              </a:tr>
              <a:tr h="63178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view Cycles Utilized</a:t>
                      </a: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ill occur in each of the four review cycles​ as needed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Occurs ASAP via an ad hoc SMRB​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3374873"/>
                  </a:ext>
                </a:extLst>
              </a:tr>
              <a:tr h="1188891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view Trigger</a:t>
                      </a:r>
                    </a:p>
                    <a:p>
                      <a:pPr algn="l" fontAlgn="base"/>
                      <a:r>
                        <a:rPr lang="en-US" sz="1400" b="1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echanism</a:t>
                      </a: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​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searchers respond to an RFA by submitting an LOI to the AMP leader detailing their need for accelerated review​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searchers respond to an RFA specifically for critical accelerated review ​by submitting an LOI to the AMP leader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010621"/>
                  </a:ext>
                </a:extLst>
              </a:tr>
              <a:tr h="1188891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ason for Review Type</a:t>
                      </a: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search presents a clear need to be reviewed in one of the four review cycles and meets criteria for accelerated review ​</a:t>
                      </a:r>
                      <a:endParaRPr lang="en-US" sz="1400" b="0" i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search presents a clear need for an immediate review process​ and meets criteria for critical accelerated review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FD5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9113264"/>
                  </a:ext>
                </a:extLst>
              </a:tr>
              <a:tr h="1418894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400" b="1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Advantage of Review Type</a:t>
                      </a: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​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ignificantly shortens the timeframe for initiating research vital to AMP priorities</a:t>
                      </a:r>
                    </a:p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udies deemed to have met appropriate criteria will result in faster clinical implementation of findings  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Shortest possible time between research proposal and research commencement</a:t>
                      </a:r>
                    </a:p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search considered to be of the utmost importance and urgency can be reviewed as soon as possible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5801170"/>
                  </a:ext>
                </a:extLst>
              </a:tr>
            </a:tbl>
          </a:graphicData>
        </a:graphic>
      </p:graphicFrame>
      <p:sp>
        <p:nvSpPr>
          <p:cNvPr id="7" name="Rectangle 2">
            <a:extLst>
              <a:ext uri="{FF2B5EF4-FFF2-40B4-BE49-F238E27FC236}">
                <a16:creationId xmlns:a16="http://schemas.microsoft.com/office/drawing/2014/main" id="{875D4C1F-D2ED-AA1F-36B5-3D0EEDA546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6988" y="13620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28DFFD2-4CE2-98FB-7FF0-0464B12E3C5F}"/>
              </a:ext>
            </a:extLst>
          </p:cNvPr>
          <p:cNvGraphicFramePr>
            <a:graphicFrameLocks noGrp="1"/>
          </p:cNvGraphicFramePr>
          <p:nvPr/>
        </p:nvGraphicFramePr>
        <p:xfrm>
          <a:off x="8368480" y="885438"/>
          <a:ext cx="3227439" cy="5024357"/>
        </p:xfrm>
        <a:graphic>
          <a:graphicData uri="http://schemas.openxmlformats.org/drawingml/2006/table">
            <a:tbl>
              <a:tblPr/>
              <a:tblGrid>
                <a:gridCol w="3227439">
                  <a:extLst>
                    <a:ext uri="{9D8B030D-6E8A-4147-A177-3AD203B41FA5}">
                      <a16:colId xmlns:a16="http://schemas.microsoft.com/office/drawing/2014/main" val="3191241118"/>
                    </a:ext>
                  </a:extLst>
                </a:gridCol>
              </a:tblGrid>
              <a:tr h="5074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500" b="1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Standard Review</a:t>
                      </a:r>
                    </a:p>
                    <a:p>
                      <a:pPr algn="l" fontAlgn="base"/>
                      <a:r>
                        <a:rPr lang="en-US" sz="1500" b="1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(Current State)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733165"/>
                  </a:ext>
                </a:extLst>
              </a:tr>
              <a:tr h="64816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Occurs biannually  ​</a:t>
                      </a:r>
                    </a:p>
                    <a:p>
                      <a:pPr algn="l" fontAlgn="base"/>
                      <a:endParaRPr lang="en-US" sz="1500" b="0" i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676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007252"/>
                  </a:ext>
                </a:extLst>
              </a:tr>
              <a:tr h="1201479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eviewers respond to traditional service RFA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6431638"/>
                  </a:ext>
                </a:extLst>
              </a:tr>
              <a:tr h="1226440"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Research does not present an immediate impact on clinical care nor address issues relating to high hospitalization, mortality, or morbidity rates 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2864320"/>
                  </a:ext>
                </a:extLst>
              </a:tr>
              <a:tr h="1429792">
                <a:tc>
                  <a:txBody>
                    <a:bodyPr/>
                    <a:lstStyle/>
                    <a:p>
                      <a:pPr marL="285750" indent="-285750" algn="l" fontAlgn="base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 i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Allows for research that lays the groundwork for future development of potential program directed projects for translation to be initiated in a timely manner </a:t>
                      </a:r>
                    </a:p>
                  </a:txBody>
                  <a:tcPr marL="61286" marR="61286" marT="30643" marB="30643">
                    <a:lnL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3974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18071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84DBF989-FE4F-88E5-AC43-29A9F535E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582673"/>
          </a:xfrm>
        </p:spPr>
        <p:txBody>
          <a:bodyPr/>
          <a:lstStyle/>
          <a:p>
            <a:r>
              <a:rPr lang="en-US" sz="2400"/>
              <a:t>We have identified three ways to make an accelerated review process more efficient than current standard review process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C68CC2D-548B-C8BB-5180-7C48EF5EB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17</a:t>
            </a:fld>
            <a:endParaRPr lang="en-US"/>
          </a:p>
        </p:txBody>
      </p:sp>
      <p:sp>
        <p:nvSpPr>
          <p:cNvPr id="17" name="ee4pHeader1">
            <a:extLst>
              <a:ext uri="{FF2B5EF4-FFF2-40B4-BE49-F238E27FC236}">
                <a16:creationId xmlns:a16="http://schemas.microsoft.com/office/drawing/2014/main" id="{3E56F316-DF67-EF4A-0046-2372226A1E1A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427079" y="1178029"/>
            <a:ext cx="3877813" cy="792227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lIns="90000" tIns="46800" rIns="90000" bIns="46800"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b="1">
                <a:solidFill>
                  <a:srgbClr val="002F56"/>
                </a:solidFill>
              </a:rPr>
              <a:t>1. Parallel JIT Preparation</a:t>
            </a:r>
          </a:p>
        </p:txBody>
      </p:sp>
      <p:sp>
        <p:nvSpPr>
          <p:cNvPr id="18" name="ee4pHeader2">
            <a:extLst>
              <a:ext uri="{FF2B5EF4-FFF2-40B4-BE49-F238E27FC236}">
                <a16:creationId xmlns:a16="http://schemas.microsoft.com/office/drawing/2014/main" id="{B7607499-8EC7-C562-4EDE-D15F3D390D17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097314" y="1178027"/>
            <a:ext cx="3786276" cy="792227"/>
          </a:xfrm>
          <a:prstGeom prst="chevron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b="1">
                <a:solidFill>
                  <a:srgbClr val="002F56"/>
                </a:solidFill>
              </a:rPr>
              <a:t>3. Interactive Regulatory Process</a:t>
            </a:r>
          </a:p>
        </p:txBody>
      </p:sp>
      <p:sp>
        <p:nvSpPr>
          <p:cNvPr id="19" name="ee4pHeader3">
            <a:extLst>
              <a:ext uri="{FF2B5EF4-FFF2-40B4-BE49-F238E27FC236}">
                <a16:creationId xmlns:a16="http://schemas.microsoft.com/office/drawing/2014/main" id="{B5B73C6E-F6AF-49C7-EF2D-4D18E231510D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4304892" y="1178028"/>
            <a:ext cx="3792422" cy="792227"/>
          </a:xfrm>
          <a:prstGeom prst="chevron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cmpd="sng">
            <a:solidFill>
              <a:schemeClr val="accent1">
                <a:lumMod val="100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spcBef>
                <a:spcPct val="0"/>
              </a:spcBef>
              <a:spcAft>
                <a:spcPct val="0"/>
              </a:spcAft>
              <a:buClrTx/>
            </a:pPr>
            <a:r>
              <a:rPr lang="en-US" b="1">
                <a:solidFill>
                  <a:srgbClr val="002F56"/>
                </a:solidFill>
              </a:rPr>
              <a:t>2. Accelerated Timefram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00C0105-FB8E-112F-A4F1-F1C0B9CF350E}"/>
              </a:ext>
            </a:extLst>
          </p:cNvPr>
          <p:cNvSpPr txBox="1"/>
          <p:nvPr/>
        </p:nvSpPr>
        <p:spPr>
          <a:xfrm>
            <a:off x="427079" y="2128684"/>
            <a:ext cx="387781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>
                <a:solidFill>
                  <a:srgbClr val="000000"/>
                </a:solidFill>
                <a:effectLst/>
              </a:rPr>
              <a:t>JIT documents necessary to obligate funds will be prepared in parallel with the application and submitted after application is selected for funding.</a:t>
            </a:r>
            <a:endParaRPr lang="en-US" sz="1800" b="0" i="0">
              <a:effectLst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>
                <a:effectLst/>
              </a:rPr>
              <a:t>Frontloading </a:t>
            </a:r>
            <a:r>
              <a:rPr lang="en-US" sz="1800"/>
              <a:t>JIT documentation </a:t>
            </a:r>
            <a:r>
              <a:rPr lang="en-US" sz="1800" b="0" i="0">
                <a:effectLst/>
              </a:rPr>
              <a:t>will help reduce the time between approval for funding and initial release of JIT fund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Partial funding will be released before JIT clears to begin research processes soon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9B9528-961E-BF78-DF3C-CCB148256F88}"/>
              </a:ext>
            </a:extLst>
          </p:cNvPr>
          <p:cNvSpPr txBox="1"/>
          <p:nvPr/>
        </p:nvSpPr>
        <p:spPr>
          <a:xfrm>
            <a:off x="4228920" y="2128684"/>
            <a:ext cx="370088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Reduced time for receipt and referral as well as for reviewer recru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Researchers will be advised to conduct pre-consolation meetings with external review boards (IRB, IACUC, ISSO, etc.) to accelerate the external review proc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>
                <a:effectLst/>
              </a:rPr>
              <a:t>LOI for accelerated review wil</a:t>
            </a:r>
            <a:r>
              <a:rPr lang="en-US"/>
              <a:t>l instruct researcher to</a:t>
            </a:r>
            <a:r>
              <a:rPr lang="en-US" sz="1800">
                <a:effectLst/>
              </a:rPr>
              <a:t>  identify IT funding needs to address the feasibility of the project at the beginning of the review proces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7683BC7-8B09-B985-A2AF-ADF5077CC04A}"/>
              </a:ext>
            </a:extLst>
          </p:cNvPr>
          <p:cNvSpPr txBox="1"/>
          <p:nvPr/>
        </p:nvSpPr>
        <p:spPr>
          <a:xfrm>
            <a:off x="7978645" y="2128684"/>
            <a:ext cx="378627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T</a:t>
            </a:r>
            <a:r>
              <a:rPr lang="en-US" sz="1800"/>
              <a:t>he AMP Leader will compile a condensed list of questions that address the main concerns of reviewers to the panel chai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Following panel discussion, the chair will generate a final list of agreed upon ques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The applicant will be invited into the review meeting to limit the potential for resubmis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/>
              <a:t>SMRB will invite external review board representatives (IRB, IACUC, ISSO, etc.) to review session to accelerate regulatory matt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393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FA2F202-70F1-7DA4-737E-8FCEBC057D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/>
              <a:t>Thank you for listening!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D37760-5658-0A40-5954-CF71D7914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EAB5BE-CF5C-1517-6F47-EF983556E4DD}"/>
              </a:ext>
            </a:extLst>
          </p:cNvPr>
          <p:cNvSpPr/>
          <p:nvPr/>
        </p:nvSpPr>
        <p:spPr>
          <a:xfrm>
            <a:off x="6316824" y="1707502"/>
            <a:ext cx="4226767" cy="266544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/>
              <a:t>Please send any questions, comments or feedback to Dr. Ken </a:t>
            </a:r>
            <a:r>
              <a:rPr lang="en-US" b="1" err="1"/>
              <a:t>Myrie</a:t>
            </a:r>
            <a:r>
              <a:rPr lang="en-US" b="1"/>
              <a:t> </a:t>
            </a:r>
            <a:r>
              <a:rPr lang="en-US">
                <a:hlinkClick r:id="rId2"/>
              </a:rPr>
              <a:t>Kenute.myrie@va.gov</a:t>
            </a:r>
            <a:r>
              <a:rPr lang="en-US"/>
              <a:t> </a:t>
            </a:r>
          </a:p>
        </p:txBody>
      </p:sp>
      <p:pic>
        <p:nvPicPr>
          <p:cNvPr id="9" name="Graphic 8" descr="Questions with solid fill">
            <a:extLst>
              <a:ext uri="{FF2B5EF4-FFF2-40B4-BE49-F238E27FC236}">
                <a16:creationId xmlns:a16="http://schemas.microsoft.com/office/drawing/2014/main" id="{BF557CDC-36D4-061C-7A06-27C8D815E0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63486" y="1278294"/>
            <a:ext cx="3523862" cy="352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5747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89C57E-431E-7CEA-F190-6B0C358E92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Origins of Precision Oncology AM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375C2D-F6E8-BC10-35E4-B94FFF1A2E8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260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28"/>
          <p:cNvSpPr txBox="1">
            <a:spLocks noGrp="1"/>
          </p:cNvSpPr>
          <p:nvPr>
            <p:ph type="title" idx="4294967295"/>
          </p:nvPr>
        </p:nvSpPr>
        <p:spPr>
          <a:xfrm>
            <a:off x="339752" y="213501"/>
            <a:ext cx="9424400" cy="528400"/>
          </a:xfrm>
          <a:prstGeom prst="rect">
            <a:avLst/>
          </a:prstGeom>
        </p:spPr>
        <p:txBody>
          <a:bodyPr spcFirstLastPara="1" vert="horz" wrap="square" lIns="0" tIns="0" rIns="0" bIns="0" rtlCol="0" anchor="b" anchorCtr="0">
            <a:noAutofit/>
          </a:bodyPr>
          <a:lstStyle/>
          <a:p>
            <a:pPr>
              <a:spcBef>
                <a:spcPts val="0"/>
              </a:spcBef>
            </a:pPr>
            <a:r>
              <a:rPr lang="en" sz="3333"/>
              <a:t>Learning health system </a:t>
            </a:r>
            <a:r>
              <a:rPr lang="en" sz="3333" dirty="0"/>
              <a:t>c</a:t>
            </a:r>
            <a:r>
              <a:rPr lang="en" sz="3333"/>
              <a:t>omponents</a:t>
            </a:r>
            <a:endParaRPr sz="3333" dirty="0"/>
          </a:p>
        </p:txBody>
      </p:sp>
      <p:grpSp>
        <p:nvGrpSpPr>
          <p:cNvPr id="222" name="Google Shape;222;p28"/>
          <p:cNvGrpSpPr/>
          <p:nvPr/>
        </p:nvGrpSpPr>
        <p:grpSpPr>
          <a:xfrm>
            <a:off x="792411" y="451523"/>
            <a:ext cx="3789268" cy="1719600"/>
            <a:chOff x="794193" y="1389023"/>
            <a:chExt cx="2841951" cy="1289700"/>
          </a:xfrm>
        </p:grpSpPr>
        <p:sp>
          <p:nvSpPr>
            <p:cNvPr id="223" name="Google Shape;223;p28"/>
            <p:cNvSpPr txBox="1"/>
            <p:nvPr/>
          </p:nvSpPr>
          <p:spPr>
            <a:xfrm>
              <a:off x="794193" y="1389023"/>
              <a:ext cx="2124000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1. Systems of leadership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224" name="Google Shape;224;p28"/>
            <p:cNvCxnSpPr/>
            <p:nvPr/>
          </p:nvCxnSpPr>
          <p:spPr>
            <a:xfrm rot="10800000">
              <a:off x="3002544" y="2041743"/>
              <a:ext cx="633600" cy="0"/>
            </a:xfrm>
            <a:prstGeom prst="straightConnector1">
              <a:avLst/>
            </a:prstGeom>
            <a:noFill/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oval" w="med" len="med"/>
            </a:ln>
          </p:spPr>
        </p:cxnSp>
      </p:grpSp>
      <p:grpSp>
        <p:nvGrpSpPr>
          <p:cNvPr id="225" name="Google Shape;225;p28"/>
          <p:cNvGrpSpPr/>
          <p:nvPr/>
        </p:nvGrpSpPr>
        <p:grpSpPr>
          <a:xfrm>
            <a:off x="6805471" y="389136"/>
            <a:ext cx="5113880" cy="1719600"/>
            <a:chOff x="5209838" y="1024086"/>
            <a:chExt cx="3835410" cy="1289700"/>
          </a:xfrm>
        </p:grpSpPr>
        <p:sp>
          <p:nvSpPr>
            <p:cNvPr id="226" name="Google Shape;226;p28"/>
            <p:cNvSpPr txBox="1"/>
            <p:nvPr/>
          </p:nvSpPr>
          <p:spPr>
            <a:xfrm>
              <a:off x="6390154" y="1024086"/>
              <a:ext cx="2655094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2. Governance and management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227" name="Google Shape;227;p28"/>
            <p:cNvCxnSpPr>
              <a:cxnSpLocks/>
            </p:cNvCxnSpPr>
            <p:nvPr/>
          </p:nvCxnSpPr>
          <p:spPr>
            <a:xfrm>
              <a:off x="5209838" y="1705200"/>
              <a:ext cx="1061430" cy="0"/>
            </a:xfrm>
            <a:prstGeom prst="straightConnector1">
              <a:avLst/>
            </a:prstGeom>
            <a:noFill/>
            <a:ln w="9525" cap="flat" cmpd="sng">
              <a:solidFill>
                <a:schemeClr val="accent2">
                  <a:lumMod val="75000"/>
                </a:schemeClr>
              </a:solidFill>
              <a:prstDash val="solid"/>
              <a:round/>
              <a:headEnd type="none" w="sm" len="sm"/>
              <a:tailEnd type="oval" w="med" len="med"/>
            </a:ln>
          </p:spPr>
        </p:cxnSp>
      </p:grpSp>
      <p:grpSp>
        <p:nvGrpSpPr>
          <p:cNvPr id="228" name="Google Shape;228;p28"/>
          <p:cNvGrpSpPr/>
          <p:nvPr/>
        </p:nvGrpSpPr>
        <p:grpSpPr>
          <a:xfrm>
            <a:off x="6985525" y="1997009"/>
            <a:ext cx="4814200" cy="1719600"/>
            <a:chOff x="5209838" y="3020450"/>
            <a:chExt cx="3610650" cy="1289700"/>
          </a:xfrm>
        </p:grpSpPr>
        <p:sp>
          <p:nvSpPr>
            <p:cNvPr id="229" name="Google Shape;229;p28"/>
            <p:cNvSpPr txBox="1"/>
            <p:nvPr/>
          </p:nvSpPr>
          <p:spPr>
            <a:xfrm>
              <a:off x="6696488" y="3020450"/>
              <a:ext cx="2124000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3. Quality improvement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230" name="Google Shape;230;p28"/>
            <p:cNvCxnSpPr/>
            <p:nvPr/>
          </p:nvCxnSpPr>
          <p:spPr>
            <a:xfrm>
              <a:off x="5209838" y="3648300"/>
              <a:ext cx="1286700" cy="0"/>
            </a:xfrm>
            <a:prstGeom prst="straightConnector1">
              <a:avLst/>
            </a:prstGeom>
            <a:noFill/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oval" w="med" len="med"/>
            </a:ln>
          </p:spPr>
        </p:cxnSp>
      </p:grpSp>
      <p:grpSp>
        <p:nvGrpSpPr>
          <p:cNvPr id="33" name="Google Shape;222;p28">
            <a:extLst>
              <a:ext uri="{FF2B5EF4-FFF2-40B4-BE49-F238E27FC236}">
                <a16:creationId xmlns:a16="http://schemas.microsoft.com/office/drawing/2014/main" id="{E0A2A195-80F2-4E29-8EEE-1BF3445780ED}"/>
              </a:ext>
            </a:extLst>
          </p:cNvPr>
          <p:cNvGrpSpPr/>
          <p:nvPr/>
        </p:nvGrpSpPr>
        <p:grpSpPr>
          <a:xfrm>
            <a:off x="-528864" y="1872295"/>
            <a:ext cx="4677575" cy="1719600"/>
            <a:chOff x="267462" y="2001729"/>
            <a:chExt cx="3508181" cy="1289700"/>
          </a:xfrm>
        </p:grpSpPr>
        <p:sp>
          <p:nvSpPr>
            <p:cNvPr id="34" name="Google Shape;223;p28">
              <a:extLst>
                <a:ext uri="{FF2B5EF4-FFF2-40B4-BE49-F238E27FC236}">
                  <a16:creationId xmlns:a16="http://schemas.microsoft.com/office/drawing/2014/main" id="{FF90F9D0-5660-4178-881C-16D75269E75B}"/>
                </a:ext>
              </a:extLst>
            </p:cNvPr>
            <p:cNvSpPr txBox="1"/>
            <p:nvPr/>
          </p:nvSpPr>
          <p:spPr>
            <a:xfrm>
              <a:off x="267462" y="2001729"/>
              <a:ext cx="2124000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6. Research</a:t>
              </a:r>
              <a:r>
                <a:rPr lang="en" sz="1067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.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35" name="Google Shape;224;p28">
              <a:extLst>
                <a:ext uri="{FF2B5EF4-FFF2-40B4-BE49-F238E27FC236}">
                  <a16:creationId xmlns:a16="http://schemas.microsoft.com/office/drawing/2014/main" id="{87F7287D-4684-4B96-8F38-7B9E77EB5C0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513328" y="2646579"/>
              <a:ext cx="1262315" cy="21982"/>
            </a:xfrm>
            <a:prstGeom prst="straightConnector1">
              <a:avLst/>
            </a:prstGeom>
            <a:ln>
              <a:solidFill>
                <a:schemeClr val="accent5"/>
              </a:solidFill>
              <a:headEnd type="none" w="sm" len="sm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3381FB7-8612-4FA9-BAE2-6E61F7833572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11104245" y="5914800"/>
            <a:ext cx="731600" cy="524800"/>
          </a:xfrm>
        </p:spPr>
        <p:txBody>
          <a:bodyPr/>
          <a:lstStyle/>
          <a:p>
            <a:fld id="{00000000-1234-1234-1234-123412341234}" type="slidenum">
              <a:rPr lang="en" smtClean="0"/>
              <a:pPr/>
              <a:t>3</a:t>
            </a:fld>
            <a:endParaRPr lang="en"/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FC4D0DB-886F-47F2-9DC9-186657EEF6E8}"/>
              </a:ext>
            </a:extLst>
          </p:cNvPr>
          <p:cNvSpPr/>
          <p:nvPr/>
        </p:nvSpPr>
        <p:spPr>
          <a:xfrm>
            <a:off x="9355547" y="4928791"/>
            <a:ext cx="2100693" cy="7602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67" dirty="0" err="1">
                <a:solidFill>
                  <a:sysClr val="windowText" lastClr="000000"/>
                </a:solidFill>
              </a:rPr>
              <a:t>Lannon</a:t>
            </a:r>
            <a:r>
              <a:rPr lang="en-US" sz="1067" dirty="0">
                <a:solidFill>
                  <a:sysClr val="windowText" lastClr="000000"/>
                </a:solidFill>
              </a:rPr>
              <a:t> et al - A maturity grid assessment tool for learning networks - Learning Health Systems - June 2020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D3ADBA-187B-4C1D-89D5-11711C355F81}"/>
              </a:ext>
            </a:extLst>
          </p:cNvPr>
          <p:cNvSpPr txBox="1"/>
          <p:nvPr/>
        </p:nvSpPr>
        <p:spPr>
          <a:xfrm>
            <a:off x="955892" y="1457961"/>
            <a:ext cx="37207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A set of methods to encourage a network to perform as a syste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B290AB-C7A6-48A0-A7D3-D98F3BDC1E67}"/>
              </a:ext>
            </a:extLst>
          </p:cNvPr>
          <p:cNvSpPr txBox="1"/>
          <p:nvPr/>
        </p:nvSpPr>
        <p:spPr>
          <a:xfrm>
            <a:off x="8379225" y="1392499"/>
            <a:ext cx="326378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The way policies, processes, norms, and actions of a network are structured, sustained, regulated, and held accountable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6568E6C-4508-47E2-B422-E0312B786464}"/>
              </a:ext>
            </a:extLst>
          </p:cNvPr>
          <p:cNvSpPr txBox="1"/>
          <p:nvPr/>
        </p:nvSpPr>
        <p:spPr>
          <a:xfrm>
            <a:off x="8949387" y="3081216"/>
            <a:ext cx="326378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Systematic, continuous actions that lead to measurable improvement in outcomes of health care services and the health status of the network's targeted patient groups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DBF7771-EC8E-4AFE-B12E-39BE3207DA74}"/>
              </a:ext>
            </a:extLst>
          </p:cNvPr>
          <p:cNvGrpSpPr/>
          <p:nvPr/>
        </p:nvGrpSpPr>
        <p:grpSpPr>
          <a:xfrm>
            <a:off x="4419125" y="4129970"/>
            <a:ext cx="5132800" cy="2003143"/>
            <a:chOff x="3297287" y="3408885"/>
            <a:chExt cx="3849600" cy="1502357"/>
          </a:xfrm>
        </p:grpSpPr>
        <p:sp>
          <p:nvSpPr>
            <p:cNvPr id="37" name="Google Shape;223;p28">
              <a:extLst>
                <a:ext uri="{FF2B5EF4-FFF2-40B4-BE49-F238E27FC236}">
                  <a16:creationId xmlns:a16="http://schemas.microsoft.com/office/drawing/2014/main" id="{575F89DF-8660-4354-94DF-785072CAA6C7}"/>
                </a:ext>
              </a:extLst>
            </p:cNvPr>
            <p:cNvSpPr txBox="1"/>
            <p:nvPr/>
          </p:nvSpPr>
          <p:spPr>
            <a:xfrm>
              <a:off x="3297287" y="3499777"/>
              <a:ext cx="3514790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4. Community-building and engagement</a:t>
              </a:r>
              <a:r>
                <a:rPr lang="en" sz="1067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.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38" name="Google Shape;224;p28">
              <a:extLst>
                <a:ext uri="{FF2B5EF4-FFF2-40B4-BE49-F238E27FC236}">
                  <a16:creationId xmlns:a16="http://schemas.microsoft.com/office/drawing/2014/main" id="{10072D8C-29DC-4726-B28D-0465A853DFC7}"/>
                </a:ext>
              </a:extLst>
            </p:cNvPr>
            <p:cNvCxnSpPr>
              <a:cxnSpLocks/>
            </p:cNvCxnSpPr>
            <p:nvPr/>
          </p:nvCxnSpPr>
          <p:spPr>
            <a:xfrm>
              <a:off x="5054682" y="3408885"/>
              <a:ext cx="194022" cy="407935"/>
            </a:xfrm>
            <a:prstGeom prst="straightConnector1">
              <a:avLst/>
            </a:prstGeom>
            <a:ln>
              <a:solidFill>
                <a:schemeClr val="accent4"/>
              </a:solidFill>
              <a:headEnd type="none" w="sm" len="sm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340874E-5BC0-4412-B07D-51EAD696F6E5}"/>
                </a:ext>
              </a:extLst>
            </p:cNvPr>
            <p:cNvSpPr txBox="1"/>
            <p:nvPr/>
          </p:nvSpPr>
          <p:spPr>
            <a:xfrm>
              <a:off x="3641927" y="4287994"/>
              <a:ext cx="3504960" cy="62324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/>
                <a:t>Structures and processes that enable all stakeholders to act on their inherent motivations and become involved in the network.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C9B345E3-8D11-485C-A5B4-5E5539EE5B04}"/>
              </a:ext>
            </a:extLst>
          </p:cNvPr>
          <p:cNvSpPr txBox="1"/>
          <p:nvPr/>
        </p:nvSpPr>
        <p:spPr>
          <a:xfrm>
            <a:off x="833731" y="2901504"/>
            <a:ext cx="3263787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Drive the generation of new knowledge related to the network's clinical focus and knowledge related to improvement of the network itself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47328EC-977E-4E86-933C-584A29F99D50}"/>
              </a:ext>
            </a:extLst>
          </p:cNvPr>
          <p:cNvGrpSpPr/>
          <p:nvPr/>
        </p:nvGrpSpPr>
        <p:grpSpPr>
          <a:xfrm>
            <a:off x="18564" y="4055383"/>
            <a:ext cx="4837339" cy="2067368"/>
            <a:chOff x="3223949" y="3496618"/>
            <a:chExt cx="3628004" cy="1550526"/>
          </a:xfrm>
        </p:grpSpPr>
        <p:sp>
          <p:nvSpPr>
            <p:cNvPr id="46" name="Google Shape;223;p28">
              <a:extLst>
                <a:ext uri="{FF2B5EF4-FFF2-40B4-BE49-F238E27FC236}">
                  <a16:creationId xmlns:a16="http://schemas.microsoft.com/office/drawing/2014/main" id="{23DBC58F-60A0-4AB2-ADD3-24ADB0AA9E18}"/>
                </a:ext>
              </a:extLst>
            </p:cNvPr>
            <p:cNvSpPr txBox="1"/>
            <p:nvPr/>
          </p:nvSpPr>
          <p:spPr>
            <a:xfrm>
              <a:off x="3300504" y="3496618"/>
              <a:ext cx="3514790" cy="12897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algn="r"/>
              <a:r>
                <a:rPr lang="en-US" sz="1600" b="1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5. Data and analytics</a:t>
              </a:r>
              <a:r>
                <a:rPr lang="en" sz="1067" dirty="0">
                  <a:solidFill>
                    <a:schemeClr val="dk1"/>
                  </a:solidFill>
                  <a:latin typeface="Inter"/>
                  <a:ea typeface="Inter"/>
                  <a:cs typeface="Inter"/>
                  <a:sym typeface="Inter"/>
                </a:rPr>
                <a:t>.</a:t>
              </a:r>
              <a:endParaRPr sz="1067" b="1" dirty="0">
                <a:solidFill>
                  <a:schemeClr val="dk1"/>
                </a:solidFill>
                <a:latin typeface="Inter"/>
                <a:ea typeface="Inter"/>
                <a:cs typeface="Inter"/>
                <a:sym typeface="Inter"/>
              </a:endParaRPr>
            </a:p>
          </p:txBody>
        </p:sp>
        <p:cxnSp>
          <p:nvCxnSpPr>
            <p:cNvPr id="47" name="Google Shape;224;p28">
              <a:extLst>
                <a:ext uri="{FF2B5EF4-FFF2-40B4-BE49-F238E27FC236}">
                  <a16:creationId xmlns:a16="http://schemas.microsoft.com/office/drawing/2014/main" id="{01C23ACA-FA0C-4814-BEF5-C1979E61D63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46285" y="3588854"/>
              <a:ext cx="205668" cy="368154"/>
            </a:xfrm>
            <a:prstGeom prst="straightConnector1">
              <a:avLst/>
            </a:prstGeom>
            <a:ln>
              <a:solidFill>
                <a:schemeClr val="accent5"/>
              </a:solidFill>
              <a:headEnd type="none" w="sm" len="sm"/>
              <a:tailEnd type="oval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7DBF227-5EA2-412B-9708-5C8C05C8D7CE}"/>
                </a:ext>
              </a:extLst>
            </p:cNvPr>
            <p:cNvSpPr txBox="1"/>
            <p:nvPr/>
          </p:nvSpPr>
          <p:spPr>
            <a:xfrm>
              <a:off x="3223949" y="4239230"/>
              <a:ext cx="3596313" cy="80791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600" dirty="0"/>
                <a:t>Activities to collect, validate, organize, and standardize data relevant to a network's mission and making these data available to all network stakeholders for clinical care, improvement, research and learning.</a:t>
              </a:r>
            </a:p>
          </p:txBody>
        </p:sp>
      </p:grpSp>
      <p:grpSp>
        <p:nvGrpSpPr>
          <p:cNvPr id="49" name="Google Shape;1274;p48">
            <a:extLst>
              <a:ext uri="{FF2B5EF4-FFF2-40B4-BE49-F238E27FC236}">
                <a16:creationId xmlns:a16="http://schemas.microsoft.com/office/drawing/2014/main" id="{BCBBDDF0-35CC-4089-8EDD-A03B47ECC7B3}"/>
              </a:ext>
            </a:extLst>
          </p:cNvPr>
          <p:cNvGrpSpPr/>
          <p:nvPr/>
        </p:nvGrpSpPr>
        <p:grpSpPr>
          <a:xfrm>
            <a:off x="3827625" y="827674"/>
            <a:ext cx="4118632" cy="3928553"/>
            <a:chOff x="8338678" y="5506443"/>
            <a:chExt cx="720227" cy="686988"/>
          </a:xfrm>
        </p:grpSpPr>
        <p:sp>
          <p:nvSpPr>
            <p:cNvPr id="50" name="Google Shape;1275;p48">
              <a:extLst>
                <a:ext uri="{FF2B5EF4-FFF2-40B4-BE49-F238E27FC236}">
                  <a16:creationId xmlns:a16="http://schemas.microsoft.com/office/drawing/2014/main" id="{F9D798D4-B057-4768-8B66-959CEA48E39B}"/>
                </a:ext>
              </a:extLst>
            </p:cNvPr>
            <p:cNvSpPr/>
            <p:nvPr/>
          </p:nvSpPr>
          <p:spPr>
            <a:xfrm>
              <a:off x="8706181" y="5506443"/>
              <a:ext cx="230803" cy="263259"/>
            </a:xfrm>
            <a:custGeom>
              <a:avLst/>
              <a:gdLst/>
              <a:ahLst/>
              <a:cxnLst/>
              <a:rect l="l" t="t" r="r" b="b"/>
              <a:pathLst>
                <a:path w="378" h="432" extrusionOk="0">
                  <a:moveTo>
                    <a:pt x="378" y="119"/>
                  </a:moveTo>
                  <a:cubicBezTo>
                    <a:pt x="378" y="111"/>
                    <a:pt x="374" y="105"/>
                    <a:pt x="367" y="101"/>
                  </a:cubicBezTo>
                  <a:cubicBezTo>
                    <a:pt x="199" y="4"/>
                    <a:pt x="199" y="4"/>
                    <a:pt x="199" y="4"/>
                  </a:cubicBezTo>
                  <a:cubicBezTo>
                    <a:pt x="193" y="0"/>
                    <a:pt x="185" y="0"/>
                    <a:pt x="178" y="4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4" y="104"/>
                    <a:pt x="0" y="111"/>
                    <a:pt x="0" y="119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13"/>
                    <a:pt x="0" y="313"/>
                    <a:pt x="0" y="314"/>
                  </a:cubicBezTo>
                  <a:cubicBezTo>
                    <a:pt x="0" y="321"/>
                    <a:pt x="4" y="327"/>
                    <a:pt x="10" y="331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185" y="432"/>
                    <a:pt x="193" y="432"/>
                    <a:pt x="199" y="428"/>
                  </a:cubicBezTo>
                  <a:cubicBezTo>
                    <a:pt x="367" y="331"/>
                    <a:pt x="367" y="331"/>
                    <a:pt x="367" y="331"/>
                  </a:cubicBezTo>
                  <a:cubicBezTo>
                    <a:pt x="373" y="327"/>
                    <a:pt x="377" y="321"/>
                    <a:pt x="378" y="314"/>
                  </a:cubicBezTo>
                  <a:cubicBezTo>
                    <a:pt x="378" y="313"/>
                    <a:pt x="378" y="313"/>
                    <a:pt x="378" y="313"/>
                  </a:cubicBezTo>
                  <a:cubicBezTo>
                    <a:pt x="378" y="119"/>
                    <a:pt x="378" y="119"/>
                    <a:pt x="378" y="119"/>
                  </a:cubicBezTo>
                  <a:cubicBezTo>
                    <a:pt x="378" y="119"/>
                    <a:pt x="378" y="119"/>
                    <a:pt x="378" y="11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" name="Google Shape;1276;p48">
              <a:extLst>
                <a:ext uri="{FF2B5EF4-FFF2-40B4-BE49-F238E27FC236}">
                  <a16:creationId xmlns:a16="http://schemas.microsoft.com/office/drawing/2014/main" id="{1B88CE44-09EB-4F36-939C-66C28A22CF9A}"/>
                </a:ext>
              </a:extLst>
            </p:cNvPr>
            <p:cNvSpPr/>
            <p:nvPr/>
          </p:nvSpPr>
          <p:spPr>
            <a:xfrm>
              <a:off x="8460817" y="5506443"/>
              <a:ext cx="230586" cy="263259"/>
            </a:xfrm>
            <a:custGeom>
              <a:avLst/>
              <a:gdLst/>
              <a:ahLst/>
              <a:cxnLst/>
              <a:rect l="l" t="t" r="r" b="b"/>
              <a:pathLst>
                <a:path w="378" h="432" extrusionOk="0">
                  <a:moveTo>
                    <a:pt x="378" y="119"/>
                  </a:moveTo>
                  <a:cubicBezTo>
                    <a:pt x="378" y="111"/>
                    <a:pt x="374" y="105"/>
                    <a:pt x="368" y="101"/>
                  </a:cubicBezTo>
                  <a:cubicBezTo>
                    <a:pt x="200" y="4"/>
                    <a:pt x="200" y="4"/>
                    <a:pt x="200" y="4"/>
                  </a:cubicBezTo>
                  <a:cubicBezTo>
                    <a:pt x="193" y="0"/>
                    <a:pt x="185" y="0"/>
                    <a:pt x="179" y="4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4" y="104"/>
                    <a:pt x="0" y="111"/>
                    <a:pt x="0" y="119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13"/>
                    <a:pt x="0" y="313"/>
                    <a:pt x="0" y="314"/>
                  </a:cubicBezTo>
                  <a:cubicBezTo>
                    <a:pt x="1" y="321"/>
                    <a:pt x="5" y="327"/>
                    <a:pt x="11" y="331"/>
                  </a:cubicBezTo>
                  <a:cubicBezTo>
                    <a:pt x="179" y="428"/>
                    <a:pt x="179" y="428"/>
                    <a:pt x="179" y="428"/>
                  </a:cubicBezTo>
                  <a:cubicBezTo>
                    <a:pt x="185" y="432"/>
                    <a:pt x="193" y="432"/>
                    <a:pt x="200" y="428"/>
                  </a:cubicBezTo>
                  <a:cubicBezTo>
                    <a:pt x="367" y="331"/>
                    <a:pt x="367" y="331"/>
                    <a:pt x="367" y="331"/>
                  </a:cubicBezTo>
                  <a:cubicBezTo>
                    <a:pt x="374" y="327"/>
                    <a:pt x="378" y="321"/>
                    <a:pt x="378" y="314"/>
                  </a:cubicBezTo>
                  <a:cubicBezTo>
                    <a:pt x="378" y="313"/>
                    <a:pt x="378" y="313"/>
                    <a:pt x="378" y="313"/>
                  </a:cubicBezTo>
                  <a:cubicBezTo>
                    <a:pt x="378" y="119"/>
                    <a:pt x="378" y="119"/>
                    <a:pt x="378" y="119"/>
                  </a:cubicBezTo>
                  <a:cubicBezTo>
                    <a:pt x="378" y="119"/>
                    <a:pt x="378" y="119"/>
                    <a:pt x="378" y="11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" name="Google Shape;1277;p48">
              <a:extLst>
                <a:ext uri="{FF2B5EF4-FFF2-40B4-BE49-F238E27FC236}">
                  <a16:creationId xmlns:a16="http://schemas.microsoft.com/office/drawing/2014/main" id="{743CB87A-69EB-42B9-8E08-1C333D652F24}"/>
                </a:ext>
              </a:extLst>
            </p:cNvPr>
            <p:cNvSpPr/>
            <p:nvPr/>
          </p:nvSpPr>
          <p:spPr>
            <a:xfrm>
              <a:off x="8338678" y="5718525"/>
              <a:ext cx="230151" cy="262608"/>
            </a:xfrm>
            <a:custGeom>
              <a:avLst/>
              <a:gdLst/>
              <a:ahLst/>
              <a:cxnLst/>
              <a:rect l="l" t="t" r="r" b="b"/>
              <a:pathLst>
                <a:path w="377" h="431" extrusionOk="0">
                  <a:moveTo>
                    <a:pt x="377" y="119"/>
                  </a:moveTo>
                  <a:cubicBezTo>
                    <a:pt x="377" y="111"/>
                    <a:pt x="373" y="105"/>
                    <a:pt x="367" y="101"/>
                  </a:cubicBezTo>
                  <a:cubicBezTo>
                    <a:pt x="199" y="4"/>
                    <a:pt x="199" y="4"/>
                    <a:pt x="199" y="4"/>
                  </a:cubicBezTo>
                  <a:cubicBezTo>
                    <a:pt x="193" y="0"/>
                    <a:pt x="185" y="0"/>
                    <a:pt x="178" y="4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4" y="104"/>
                    <a:pt x="0" y="111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1"/>
                    <a:pt x="4" y="327"/>
                    <a:pt x="10" y="331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184" y="431"/>
                    <a:pt x="192" y="431"/>
                    <a:pt x="199" y="428"/>
                  </a:cubicBezTo>
                  <a:cubicBezTo>
                    <a:pt x="367" y="331"/>
                    <a:pt x="367" y="331"/>
                    <a:pt x="367" y="331"/>
                  </a:cubicBezTo>
                  <a:cubicBezTo>
                    <a:pt x="373" y="327"/>
                    <a:pt x="377" y="321"/>
                    <a:pt x="377" y="313"/>
                  </a:cubicBezTo>
                  <a:cubicBezTo>
                    <a:pt x="377" y="313"/>
                    <a:pt x="377" y="313"/>
                    <a:pt x="377" y="313"/>
                  </a:cubicBezTo>
                  <a:cubicBezTo>
                    <a:pt x="377" y="119"/>
                    <a:pt x="377" y="119"/>
                    <a:pt x="377" y="119"/>
                  </a:cubicBezTo>
                  <a:cubicBezTo>
                    <a:pt x="377" y="119"/>
                    <a:pt x="377" y="119"/>
                    <a:pt x="377" y="119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Google Shape;1278;p48">
              <a:extLst>
                <a:ext uri="{FF2B5EF4-FFF2-40B4-BE49-F238E27FC236}">
                  <a16:creationId xmlns:a16="http://schemas.microsoft.com/office/drawing/2014/main" id="{7DA0F7C3-D4BB-4627-B72A-DDC27D2BD1A6}"/>
                </a:ext>
              </a:extLst>
            </p:cNvPr>
            <p:cNvSpPr/>
            <p:nvPr/>
          </p:nvSpPr>
          <p:spPr>
            <a:xfrm>
              <a:off x="8828754" y="5718525"/>
              <a:ext cx="230151" cy="262608"/>
            </a:xfrm>
            <a:custGeom>
              <a:avLst/>
              <a:gdLst/>
              <a:ahLst/>
              <a:cxnLst/>
              <a:rect l="l" t="t" r="r" b="b"/>
              <a:pathLst>
                <a:path w="377" h="431" extrusionOk="0">
                  <a:moveTo>
                    <a:pt x="377" y="119"/>
                  </a:moveTo>
                  <a:cubicBezTo>
                    <a:pt x="377" y="111"/>
                    <a:pt x="373" y="105"/>
                    <a:pt x="367" y="101"/>
                  </a:cubicBezTo>
                  <a:cubicBezTo>
                    <a:pt x="199" y="4"/>
                    <a:pt x="199" y="4"/>
                    <a:pt x="199" y="4"/>
                  </a:cubicBezTo>
                  <a:cubicBezTo>
                    <a:pt x="193" y="0"/>
                    <a:pt x="185" y="0"/>
                    <a:pt x="178" y="4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4" y="104"/>
                    <a:pt x="0" y="111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21"/>
                    <a:pt x="4" y="327"/>
                    <a:pt x="10" y="331"/>
                  </a:cubicBezTo>
                  <a:cubicBezTo>
                    <a:pt x="178" y="428"/>
                    <a:pt x="178" y="428"/>
                    <a:pt x="178" y="428"/>
                  </a:cubicBezTo>
                  <a:cubicBezTo>
                    <a:pt x="184" y="431"/>
                    <a:pt x="192" y="431"/>
                    <a:pt x="199" y="428"/>
                  </a:cubicBezTo>
                  <a:cubicBezTo>
                    <a:pt x="367" y="331"/>
                    <a:pt x="367" y="331"/>
                    <a:pt x="367" y="331"/>
                  </a:cubicBezTo>
                  <a:cubicBezTo>
                    <a:pt x="373" y="327"/>
                    <a:pt x="377" y="321"/>
                    <a:pt x="377" y="313"/>
                  </a:cubicBezTo>
                  <a:cubicBezTo>
                    <a:pt x="377" y="313"/>
                    <a:pt x="377" y="313"/>
                    <a:pt x="377" y="313"/>
                  </a:cubicBezTo>
                  <a:cubicBezTo>
                    <a:pt x="377" y="119"/>
                    <a:pt x="377" y="119"/>
                    <a:pt x="377" y="119"/>
                  </a:cubicBezTo>
                  <a:cubicBezTo>
                    <a:pt x="377" y="119"/>
                    <a:pt x="377" y="119"/>
                    <a:pt x="377" y="11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Google Shape;1279;p48">
              <a:extLst>
                <a:ext uri="{FF2B5EF4-FFF2-40B4-BE49-F238E27FC236}">
                  <a16:creationId xmlns:a16="http://schemas.microsoft.com/office/drawing/2014/main" id="{823EE4FB-FFF5-4DB7-B340-06DCA4AAAF41}"/>
                </a:ext>
              </a:extLst>
            </p:cNvPr>
            <p:cNvSpPr/>
            <p:nvPr/>
          </p:nvSpPr>
          <p:spPr>
            <a:xfrm>
              <a:off x="8706181" y="5930607"/>
              <a:ext cx="230803" cy="262825"/>
            </a:xfrm>
            <a:custGeom>
              <a:avLst/>
              <a:gdLst/>
              <a:ahLst/>
              <a:cxnLst/>
              <a:rect l="l" t="t" r="r" b="b"/>
              <a:pathLst>
                <a:path w="378" h="431" extrusionOk="0">
                  <a:moveTo>
                    <a:pt x="378" y="118"/>
                  </a:moveTo>
                  <a:cubicBezTo>
                    <a:pt x="377" y="111"/>
                    <a:pt x="374" y="104"/>
                    <a:pt x="367" y="100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193" y="0"/>
                    <a:pt x="185" y="0"/>
                    <a:pt x="179" y="3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4" y="104"/>
                    <a:pt x="0" y="111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2"/>
                    <a:pt x="0" y="312"/>
                    <a:pt x="0" y="313"/>
                  </a:cubicBezTo>
                  <a:cubicBezTo>
                    <a:pt x="0" y="320"/>
                    <a:pt x="4" y="327"/>
                    <a:pt x="11" y="330"/>
                  </a:cubicBezTo>
                  <a:cubicBezTo>
                    <a:pt x="178" y="427"/>
                    <a:pt x="178" y="427"/>
                    <a:pt x="178" y="427"/>
                  </a:cubicBezTo>
                  <a:cubicBezTo>
                    <a:pt x="185" y="431"/>
                    <a:pt x="193" y="431"/>
                    <a:pt x="199" y="427"/>
                  </a:cubicBezTo>
                  <a:cubicBezTo>
                    <a:pt x="367" y="330"/>
                    <a:pt x="367" y="330"/>
                    <a:pt x="367" y="330"/>
                  </a:cubicBezTo>
                  <a:cubicBezTo>
                    <a:pt x="374" y="327"/>
                    <a:pt x="377" y="320"/>
                    <a:pt x="378" y="313"/>
                  </a:cubicBezTo>
                  <a:cubicBezTo>
                    <a:pt x="378" y="313"/>
                    <a:pt x="378" y="312"/>
                    <a:pt x="378" y="312"/>
                  </a:cubicBezTo>
                  <a:cubicBezTo>
                    <a:pt x="378" y="119"/>
                    <a:pt x="378" y="119"/>
                    <a:pt x="378" y="119"/>
                  </a:cubicBezTo>
                  <a:cubicBezTo>
                    <a:pt x="378" y="118"/>
                    <a:pt x="378" y="118"/>
                    <a:pt x="378" y="118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1280;p48">
              <a:extLst>
                <a:ext uri="{FF2B5EF4-FFF2-40B4-BE49-F238E27FC236}">
                  <a16:creationId xmlns:a16="http://schemas.microsoft.com/office/drawing/2014/main" id="{CC903063-A0AF-4884-AD88-9B54BC1747CD}"/>
                </a:ext>
              </a:extLst>
            </p:cNvPr>
            <p:cNvSpPr/>
            <p:nvPr/>
          </p:nvSpPr>
          <p:spPr>
            <a:xfrm>
              <a:off x="8460817" y="5930607"/>
              <a:ext cx="230586" cy="262825"/>
            </a:xfrm>
            <a:custGeom>
              <a:avLst/>
              <a:gdLst/>
              <a:ahLst/>
              <a:cxnLst/>
              <a:rect l="l" t="t" r="r" b="b"/>
              <a:pathLst>
                <a:path w="378" h="431" extrusionOk="0">
                  <a:moveTo>
                    <a:pt x="378" y="118"/>
                  </a:moveTo>
                  <a:cubicBezTo>
                    <a:pt x="378" y="111"/>
                    <a:pt x="374" y="104"/>
                    <a:pt x="367" y="100"/>
                  </a:cubicBezTo>
                  <a:cubicBezTo>
                    <a:pt x="200" y="3"/>
                    <a:pt x="200" y="3"/>
                    <a:pt x="200" y="3"/>
                  </a:cubicBezTo>
                  <a:cubicBezTo>
                    <a:pt x="193" y="0"/>
                    <a:pt x="185" y="0"/>
                    <a:pt x="179" y="3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4" y="104"/>
                    <a:pt x="1" y="111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12"/>
                    <a:pt x="0" y="312"/>
                    <a:pt x="0" y="313"/>
                  </a:cubicBezTo>
                  <a:cubicBezTo>
                    <a:pt x="1" y="320"/>
                    <a:pt x="4" y="327"/>
                    <a:pt x="11" y="330"/>
                  </a:cubicBezTo>
                  <a:cubicBezTo>
                    <a:pt x="179" y="427"/>
                    <a:pt x="179" y="427"/>
                    <a:pt x="179" y="427"/>
                  </a:cubicBezTo>
                  <a:cubicBezTo>
                    <a:pt x="185" y="431"/>
                    <a:pt x="193" y="431"/>
                    <a:pt x="199" y="427"/>
                  </a:cubicBezTo>
                  <a:cubicBezTo>
                    <a:pt x="367" y="330"/>
                    <a:pt x="367" y="330"/>
                    <a:pt x="367" y="330"/>
                  </a:cubicBezTo>
                  <a:cubicBezTo>
                    <a:pt x="374" y="327"/>
                    <a:pt x="378" y="320"/>
                    <a:pt x="378" y="313"/>
                  </a:cubicBezTo>
                  <a:cubicBezTo>
                    <a:pt x="378" y="313"/>
                    <a:pt x="378" y="312"/>
                    <a:pt x="378" y="312"/>
                  </a:cubicBezTo>
                  <a:cubicBezTo>
                    <a:pt x="378" y="119"/>
                    <a:pt x="378" y="119"/>
                    <a:pt x="378" y="119"/>
                  </a:cubicBezTo>
                  <a:cubicBezTo>
                    <a:pt x="378" y="118"/>
                    <a:pt x="378" y="118"/>
                    <a:pt x="378" y="1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/>
            <a:p>
              <a:pPr>
                <a:buClr>
                  <a:schemeClr val="dk1"/>
                </a:buClr>
                <a:buSzPts val="1400"/>
              </a:pPr>
              <a:endParaRPr sz="1867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28705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28D19C-9303-4C24-BC7A-6C40CC70CD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722E2A-141F-C448-A6A8-A8420CD539E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1BAE8F9-54C7-40E2-A439-88699F711339}"/>
              </a:ext>
            </a:extLst>
          </p:cNvPr>
          <p:cNvCxnSpPr>
            <a:cxnSpLocks/>
          </p:cNvCxnSpPr>
          <p:nvPr/>
        </p:nvCxnSpPr>
        <p:spPr>
          <a:xfrm flipH="1" flipV="1">
            <a:off x="5322015" y="5344751"/>
            <a:ext cx="2081407" cy="119743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A66CB79E-3128-40EC-849C-151ABFB8E81E}"/>
              </a:ext>
            </a:extLst>
          </p:cNvPr>
          <p:cNvGraphicFramePr/>
          <p:nvPr/>
        </p:nvGraphicFramePr>
        <p:xfrm>
          <a:off x="168910" y="1096155"/>
          <a:ext cx="7471596" cy="49415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5A75B7C-9797-43DA-8FF6-69E6F2EC016C}"/>
              </a:ext>
            </a:extLst>
          </p:cNvPr>
          <p:cNvCxnSpPr>
            <a:cxnSpLocks/>
          </p:cNvCxnSpPr>
          <p:nvPr/>
        </p:nvCxnSpPr>
        <p:spPr>
          <a:xfrm flipH="1">
            <a:off x="5229546" y="1669325"/>
            <a:ext cx="2173877" cy="122521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D82DB058-0612-4931-ACD3-DD366D70275D}"/>
              </a:ext>
            </a:extLst>
          </p:cNvPr>
          <p:cNvGrpSpPr/>
          <p:nvPr/>
        </p:nvGrpSpPr>
        <p:grpSpPr>
          <a:xfrm>
            <a:off x="7403422" y="1669325"/>
            <a:ext cx="4310742" cy="3795169"/>
            <a:chOff x="7369629" y="1404257"/>
            <a:chExt cx="4310742" cy="3795169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4722A70-E6E6-43E0-973D-C0E37BF5B4EF}"/>
                </a:ext>
              </a:extLst>
            </p:cNvPr>
            <p:cNvSpPr/>
            <p:nvPr/>
          </p:nvSpPr>
          <p:spPr>
            <a:xfrm>
              <a:off x="7369629" y="1404257"/>
              <a:ext cx="4310742" cy="1034143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ecutive Steering Committe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48B90D-F707-4A7B-9E76-C4A45C2E49A9}"/>
                </a:ext>
              </a:extLst>
            </p:cNvPr>
            <p:cNvSpPr/>
            <p:nvPr/>
          </p:nvSpPr>
          <p:spPr>
            <a:xfrm>
              <a:off x="7369629" y="2784770"/>
              <a:ext cx="4310742" cy="1034143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orkgroups</a:t>
              </a:r>
            </a:p>
            <a:p>
              <a:pPr marL="1200150" marR="0" lvl="2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eteran Engagement</a:t>
              </a:r>
            </a:p>
            <a:p>
              <a:pPr marL="1200150" marR="0" lvl="2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ung Cancer Screening Outcomes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EE470F3-AC98-4B7C-A6B4-281322DE2C2C}"/>
                </a:ext>
              </a:extLst>
            </p:cNvPr>
            <p:cNvSpPr/>
            <p:nvPr/>
          </p:nvSpPr>
          <p:spPr>
            <a:xfrm>
              <a:off x="7369629" y="4165283"/>
              <a:ext cx="4310742" cy="1034143"/>
            </a:xfrm>
            <a:prstGeom prst="rect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14400" marR="0" lvl="2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ub-workgroups</a:t>
              </a:r>
            </a:p>
            <a:p>
              <a:pPr marL="1200150" marR="0" lvl="2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CS Scientific Radiomics</a:t>
              </a:r>
            </a:p>
            <a:p>
              <a:pPr marL="1200150" marR="0" lvl="2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LCS Clinician &amp; Scientific Outcomes</a:t>
              </a:r>
            </a:p>
          </p:txBody>
        </p:sp>
        <p:pic>
          <p:nvPicPr>
            <p:cNvPr id="13" name="Graphic 12" descr="Bank with solid fill">
              <a:extLst>
                <a:ext uri="{FF2B5EF4-FFF2-40B4-BE49-F238E27FC236}">
                  <a16:creationId xmlns:a16="http://schemas.microsoft.com/office/drawing/2014/main" id="{65ECBBC0-FBF5-4E8E-B051-42D7221691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467600" y="1404257"/>
              <a:ext cx="914400" cy="914400"/>
            </a:xfrm>
            <a:prstGeom prst="rect">
              <a:avLst/>
            </a:prstGeom>
          </p:spPr>
        </p:pic>
        <p:pic>
          <p:nvPicPr>
            <p:cNvPr id="14" name="Graphic 13" descr="Group with solid fill">
              <a:extLst>
                <a:ext uri="{FF2B5EF4-FFF2-40B4-BE49-F238E27FC236}">
                  <a16:creationId xmlns:a16="http://schemas.microsoft.com/office/drawing/2014/main" id="{F8496B39-67FA-4254-B96B-D986B4039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7467600" y="2784770"/>
              <a:ext cx="914400" cy="914400"/>
            </a:xfrm>
            <a:prstGeom prst="rect">
              <a:avLst/>
            </a:prstGeom>
          </p:spPr>
        </p:pic>
        <p:pic>
          <p:nvPicPr>
            <p:cNvPr id="15" name="Graphic 14" descr="Group brainstorm with solid fill">
              <a:extLst>
                <a:ext uri="{FF2B5EF4-FFF2-40B4-BE49-F238E27FC236}">
                  <a16:creationId xmlns:a16="http://schemas.microsoft.com/office/drawing/2014/main" id="{DD568598-5DB7-4553-AE5A-FF31A53FB0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7467600" y="4165283"/>
              <a:ext cx="914400" cy="914400"/>
            </a:xfrm>
            <a:prstGeom prst="rect">
              <a:avLst/>
            </a:prstGeom>
          </p:spPr>
        </p:pic>
      </p:grpSp>
      <p:sp>
        <p:nvSpPr>
          <p:cNvPr id="20" name="Title 1">
            <a:extLst>
              <a:ext uri="{FF2B5EF4-FFF2-40B4-BE49-F238E27FC236}">
                <a16:creationId xmlns:a16="http://schemas.microsoft.com/office/drawing/2014/main" id="{F6C53855-9A37-48F1-B13D-D2F1511962B5}"/>
              </a:ext>
            </a:extLst>
          </p:cNvPr>
          <p:cNvSpPr txBox="1">
            <a:spLocks/>
          </p:cNvSpPr>
          <p:nvPr/>
        </p:nvSpPr>
        <p:spPr>
          <a:xfrm>
            <a:off x="285750" y="96892"/>
            <a:ext cx="11072532" cy="7571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he beginnings of the Actively Managed Portfolios framework can be seen in the development of the Lung Precision Oncology Program (LPOP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C19856-DAA9-47F7-B2FA-4AB8DA7100DF}"/>
              </a:ext>
            </a:extLst>
          </p:cNvPr>
          <p:cNvSpPr txBox="1"/>
          <p:nvPr/>
        </p:nvSpPr>
        <p:spPr>
          <a:xfrm>
            <a:off x="3261815" y="5577179"/>
            <a:ext cx="48722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/>
              <a:t>An example of AMP functionality in practice</a:t>
            </a:r>
          </a:p>
        </p:txBody>
      </p:sp>
    </p:spTree>
    <p:extLst>
      <p:ext uri="{BB962C8B-B14F-4D97-AF65-F5344CB8AC3E}">
        <p14:creationId xmlns:p14="http://schemas.microsoft.com/office/powerpoint/2010/main" val="3797011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3B0A4D00-0E1D-44BF-A5AD-95B8E5222A9B}"/>
              </a:ext>
            </a:extLst>
          </p:cNvPr>
          <p:cNvSpPr txBox="1">
            <a:spLocks/>
          </p:cNvSpPr>
          <p:nvPr/>
        </p:nvSpPr>
        <p:spPr>
          <a:xfrm>
            <a:off x="285750" y="96892"/>
            <a:ext cx="11072532" cy="7571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trong Research-Clinical collaboration is essential for achieving real-world impact in Veteran healthcare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333D514-0D20-434F-9E4F-DE79727AD0DA}"/>
              </a:ext>
            </a:extLst>
          </p:cNvPr>
          <p:cNvSpPr/>
          <p:nvPr/>
        </p:nvSpPr>
        <p:spPr>
          <a:xfrm>
            <a:off x="2087969" y="1946452"/>
            <a:ext cx="2314317" cy="231474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3">
            <a:scrgbClr r="0" g="0" b="0"/>
          </a:fillRef>
          <a:effectRef idx="3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6544C59-D935-4A9C-B591-A0DEF67E05CE}"/>
              </a:ext>
            </a:extLst>
          </p:cNvPr>
          <p:cNvSpPr/>
          <p:nvPr/>
        </p:nvSpPr>
        <p:spPr>
          <a:xfrm>
            <a:off x="4968883" y="1896457"/>
            <a:ext cx="2314317" cy="2314745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3">
            <a:scrgbClr r="0" g="0" b="0"/>
          </a:fillRef>
          <a:effectRef idx="3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AB96BD1E-70D0-4013-A247-D4AAE704A943}"/>
              </a:ext>
            </a:extLst>
          </p:cNvPr>
          <p:cNvSpPr/>
          <p:nvPr/>
        </p:nvSpPr>
        <p:spPr>
          <a:xfrm>
            <a:off x="7825649" y="1884908"/>
            <a:ext cx="2314317" cy="2314745"/>
          </a:xfrm>
          <a:prstGeom prst="ellipse">
            <a:avLst/>
          </a:prstGeom>
          <a:solidFill>
            <a:srgbClr val="DEA900"/>
          </a:solidFill>
          <a:ln>
            <a:solidFill>
              <a:schemeClr val="tx2"/>
            </a:solidFill>
          </a:ln>
        </p:spPr>
        <p:style>
          <a:lnRef idx="0">
            <a:scrgbClr r="0" g="0" b="0"/>
          </a:lnRef>
          <a:fillRef idx="3">
            <a:scrgbClr r="0" g="0" b="0"/>
          </a:fillRef>
          <a:effectRef idx="3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15348C75-4609-45AD-A86E-B87FA2F58FC8}"/>
              </a:ext>
            </a:extLst>
          </p:cNvPr>
          <p:cNvGrpSpPr/>
          <p:nvPr/>
        </p:nvGrpSpPr>
        <p:grpSpPr>
          <a:xfrm>
            <a:off x="5092508" y="1996335"/>
            <a:ext cx="2091139" cy="2090916"/>
            <a:chOff x="634503" y="1590965"/>
            <a:chExt cx="2290857" cy="2290613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44B023B-628C-4B02-BEB5-1C021FC9091A}"/>
                </a:ext>
              </a:extLst>
            </p:cNvPr>
            <p:cNvSpPr/>
            <p:nvPr/>
          </p:nvSpPr>
          <p:spPr>
            <a:xfrm>
              <a:off x="634503" y="1590965"/>
              <a:ext cx="2290857" cy="2290613"/>
            </a:xfrm>
            <a:prstGeom prst="ellipse">
              <a:avLst/>
            </a:prstGeom>
            <a:ln>
              <a:noFill/>
            </a:ln>
          </p:spPr>
          <p:style>
            <a:lnRef idx="1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Oval 4">
              <a:extLst>
                <a:ext uri="{FF2B5EF4-FFF2-40B4-BE49-F238E27FC236}">
                  <a16:creationId xmlns:a16="http://schemas.microsoft.com/office/drawing/2014/main" id="{1909347D-5B1C-4CE8-9B62-B8EE41A97DF4}"/>
                </a:ext>
              </a:extLst>
            </p:cNvPr>
            <p:cNvSpPr txBox="1"/>
            <p:nvPr/>
          </p:nvSpPr>
          <p:spPr>
            <a:xfrm>
              <a:off x="961997" y="1891534"/>
              <a:ext cx="1635870" cy="16360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884202D1-E4B3-420B-AB02-8F7EB16A36B9}"/>
              </a:ext>
            </a:extLst>
          </p:cNvPr>
          <p:cNvSpPr txBox="1"/>
          <p:nvPr/>
        </p:nvSpPr>
        <p:spPr>
          <a:xfrm>
            <a:off x="5398174" y="3082430"/>
            <a:ext cx="145979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Operations</a:t>
            </a:r>
          </a:p>
        </p:txBody>
      </p:sp>
      <p:graphicFrame>
        <p:nvGraphicFramePr>
          <p:cNvPr id="43" name="Table 39">
            <a:extLst>
              <a:ext uri="{FF2B5EF4-FFF2-40B4-BE49-F238E27FC236}">
                <a16:creationId xmlns:a16="http://schemas.microsoft.com/office/drawing/2014/main" id="{D119E011-D3C7-48F6-A570-B54AD5F6865E}"/>
              </a:ext>
            </a:extLst>
          </p:cNvPr>
          <p:cNvGraphicFramePr>
            <a:graphicFrameLocks noGrp="1"/>
          </p:cNvGraphicFramePr>
          <p:nvPr/>
        </p:nvGraphicFramePr>
        <p:xfrm>
          <a:off x="2501211" y="5210830"/>
          <a:ext cx="8127999" cy="56060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9626">
                  <a:extLst>
                    <a:ext uri="{9D8B030D-6E8A-4147-A177-3AD203B41FA5}">
                      <a16:colId xmlns:a16="http://schemas.microsoft.com/office/drawing/2014/main" val="1822381818"/>
                    </a:ext>
                  </a:extLst>
                </a:gridCol>
                <a:gridCol w="2589040">
                  <a:extLst>
                    <a:ext uri="{9D8B030D-6E8A-4147-A177-3AD203B41FA5}">
                      <a16:colId xmlns:a16="http://schemas.microsoft.com/office/drawing/2014/main" val="3714449410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054829092"/>
                    </a:ext>
                  </a:extLst>
                </a:gridCol>
              </a:tblGrid>
              <a:tr h="560601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2400" b="0">
                          <a:solidFill>
                            <a:schemeClr val="tx1"/>
                          </a:solidFill>
                        </a:rPr>
                        <a:t>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2400" b="0">
                          <a:solidFill>
                            <a:schemeClr val="tx1"/>
                          </a:solidFill>
                        </a:rPr>
                        <a:t>Coordinatio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en-US" sz="2400" b="0">
                          <a:solidFill>
                            <a:schemeClr val="tx1"/>
                          </a:solidFill>
                        </a:rPr>
                        <a:t>Collabor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4568088"/>
                  </a:ext>
                </a:extLst>
              </a:tr>
            </a:tbl>
          </a:graphicData>
        </a:graphic>
      </p:graphicFrame>
      <p:grpSp>
        <p:nvGrpSpPr>
          <p:cNvPr id="44" name="Group 43">
            <a:extLst>
              <a:ext uri="{FF2B5EF4-FFF2-40B4-BE49-F238E27FC236}">
                <a16:creationId xmlns:a16="http://schemas.microsoft.com/office/drawing/2014/main" id="{21AF0444-593F-4E82-852D-9DFCE44FE6F5}"/>
              </a:ext>
            </a:extLst>
          </p:cNvPr>
          <p:cNvGrpSpPr/>
          <p:nvPr/>
        </p:nvGrpSpPr>
        <p:grpSpPr>
          <a:xfrm>
            <a:off x="2209009" y="2058368"/>
            <a:ext cx="2091139" cy="2090916"/>
            <a:chOff x="634503" y="1564242"/>
            <a:chExt cx="2290857" cy="2290613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2DBB3F37-4E63-4CEA-8153-0794C7E97143}"/>
                </a:ext>
              </a:extLst>
            </p:cNvPr>
            <p:cNvSpPr/>
            <p:nvPr/>
          </p:nvSpPr>
          <p:spPr>
            <a:xfrm>
              <a:off x="634503" y="1564242"/>
              <a:ext cx="2290857" cy="2290613"/>
            </a:xfrm>
            <a:prstGeom prst="ellipse">
              <a:avLst/>
            </a:prstGeom>
            <a:ln>
              <a:noFill/>
            </a:ln>
          </p:spPr>
          <p:style>
            <a:lnRef idx="1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Oval 4">
              <a:extLst>
                <a:ext uri="{FF2B5EF4-FFF2-40B4-BE49-F238E27FC236}">
                  <a16:creationId xmlns:a16="http://schemas.microsoft.com/office/drawing/2014/main" id="{CFEF22D7-FDFC-4B58-B264-E8AA85BD1F46}"/>
                </a:ext>
              </a:extLst>
            </p:cNvPr>
            <p:cNvSpPr txBox="1"/>
            <p:nvPr/>
          </p:nvSpPr>
          <p:spPr>
            <a:xfrm>
              <a:off x="961997" y="1891534"/>
              <a:ext cx="1635870" cy="16360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474238EA-3BAC-41AC-9DF0-9E99F18B6611}"/>
              </a:ext>
            </a:extLst>
          </p:cNvPr>
          <p:cNvGrpSpPr/>
          <p:nvPr/>
        </p:nvGrpSpPr>
        <p:grpSpPr>
          <a:xfrm>
            <a:off x="7951614" y="1996335"/>
            <a:ext cx="2091139" cy="2090916"/>
            <a:chOff x="634503" y="1564242"/>
            <a:chExt cx="2290857" cy="2290613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201246AF-1E88-4B88-AD28-F57E0B217071}"/>
                </a:ext>
              </a:extLst>
            </p:cNvPr>
            <p:cNvSpPr/>
            <p:nvPr/>
          </p:nvSpPr>
          <p:spPr>
            <a:xfrm>
              <a:off x="634503" y="1564242"/>
              <a:ext cx="2290857" cy="2290613"/>
            </a:xfrm>
            <a:prstGeom prst="ellipse">
              <a:avLst/>
            </a:prstGeom>
            <a:ln>
              <a:noFill/>
            </a:ln>
          </p:spPr>
          <p:style>
            <a:lnRef idx="1">
              <a:scrgbClr r="0" g="0" b="0"/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9" name="Oval 4">
              <a:extLst>
                <a:ext uri="{FF2B5EF4-FFF2-40B4-BE49-F238E27FC236}">
                  <a16:creationId xmlns:a16="http://schemas.microsoft.com/office/drawing/2014/main" id="{256853A3-0546-4D96-817C-09F5F6A3AF3C}"/>
                </a:ext>
              </a:extLst>
            </p:cNvPr>
            <p:cNvSpPr txBox="1"/>
            <p:nvPr/>
          </p:nvSpPr>
          <p:spPr>
            <a:xfrm>
              <a:off x="961997" y="1891534"/>
              <a:ext cx="1635870" cy="163602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marL="0" marR="0" lvl="0" indent="0" algn="ctr" defTabSz="28892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5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35D764AC-7F8A-45D5-AA1F-37205A994440}"/>
              </a:ext>
            </a:extLst>
          </p:cNvPr>
          <p:cNvSpPr txBox="1"/>
          <p:nvPr/>
        </p:nvSpPr>
        <p:spPr>
          <a:xfrm>
            <a:off x="2643175" y="3204121"/>
            <a:ext cx="1247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1D5BCE6-1332-4519-9985-5BDBABD24DE7}"/>
              </a:ext>
            </a:extLst>
          </p:cNvPr>
          <p:cNvGrpSpPr/>
          <p:nvPr/>
        </p:nvGrpSpPr>
        <p:grpSpPr>
          <a:xfrm>
            <a:off x="2751993" y="1251523"/>
            <a:ext cx="6688014" cy="3628504"/>
            <a:chOff x="2625096" y="1117600"/>
            <a:chExt cx="6688014" cy="3628504"/>
          </a:xfrm>
        </p:grpSpPr>
        <p:pic>
          <p:nvPicPr>
            <p:cNvPr id="52" name="Graphic 51" descr="Stethoscope with solid fill">
              <a:extLst>
                <a:ext uri="{FF2B5EF4-FFF2-40B4-BE49-F238E27FC236}">
                  <a16:creationId xmlns:a16="http://schemas.microsoft.com/office/drawing/2014/main" id="{825037BC-F576-4BC5-9F70-64F4FAC3C41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23914" y="2117027"/>
              <a:ext cx="914400" cy="914400"/>
            </a:xfrm>
            <a:prstGeom prst="rect">
              <a:avLst/>
            </a:prstGeom>
          </p:spPr>
        </p:pic>
        <p:pic>
          <p:nvPicPr>
            <p:cNvPr id="53" name="Graphic 52" descr="Group with solid fill">
              <a:extLst>
                <a:ext uri="{FF2B5EF4-FFF2-40B4-BE49-F238E27FC236}">
                  <a16:creationId xmlns:a16="http://schemas.microsoft.com/office/drawing/2014/main" id="{04B919F1-4632-4F28-B184-E8CF2667D1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398710" y="2223203"/>
              <a:ext cx="914400" cy="914400"/>
            </a:xfrm>
            <a:prstGeom prst="rect">
              <a:avLst/>
            </a:prstGeom>
          </p:spPr>
        </p:pic>
        <p:sp>
          <p:nvSpPr>
            <p:cNvPr id="54" name="Arrow: U-Turn 53">
              <a:extLst>
                <a:ext uri="{FF2B5EF4-FFF2-40B4-BE49-F238E27FC236}">
                  <a16:creationId xmlns:a16="http://schemas.microsoft.com/office/drawing/2014/main" id="{59F00799-B9FD-4EAC-BE00-95EDF4814153}"/>
                </a:ext>
              </a:extLst>
            </p:cNvPr>
            <p:cNvSpPr/>
            <p:nvPr/>
          </p:nvSpPr>
          <p:spPr>
            <a:xfrm flipH="1">
              <a:off x="2932617" y="1117600"/>
              <a:ext cx="3054987" cy="534723"/>
            </a:xfrm>
            <a:prstGeom prst="uturnArrow">
              <a:avLst>
                <a:gd name="adj1" fmla="val 25000"/>
                <a:gd name="adj2" fmla="val 25000"/>
                <a:gd name="adj3" fmla="val 25000"/>
                <a:gd name="adj4" fmla="val 43750"/>
                <a:gd name="adj5" fmla="val 100000"/>
              </a:avLst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Arrow: U-Turn 54">
              <a:extLst>
                <a:ext uri="{FF2B5EF4-FFF2-40B4-BE49-F238E27FC236}">
                  <a16:creationId xmlns:a16="http://schemas.microsoft.com/office/drawing/2014/main" id="{85D13EDE-B519-422C-803D-8F6F6AFB7BC9}"/>
                </a:ext>
              </a:extLst>
            </p:cNvPr>
            <p:cNvSpPr/>
            <p:nvPr/>
          </p:nvSpPr>
          <p:spPr>
            <a:xfrm rot="10800000">
              <a:off x="5836910" y="4211381"/>
              <a:ext cx="3188885" cy="534723"/>
            </a:xfrm>
            <a:prstGeom prst="uturnArrow">
              <a:avLst>
                <a:gd name="adj1" fmla="val 25000"/>
                <a:gd name="adj2" fmla="val 25000"/>
                <a:gd name="adj3" fmla="val 25000"/>
                <a:gd name="adj4" fmla="val 43750"/>
                <a:gd name="adj5" fmla="val 100000"/>
              </a:avLst>
            </a:prstGeom>
            <a:solidFill>
              <a:srgbClr val="FFC00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6" name="Graphic 55" descr="Microscope with solid fill">
              <a:extLst>
                <a:ext uri="{FF2B5EF4-FFF2-40B4-BE49-F238E27FC236}">
                  <a16:creationId xmlns:a16="http://schemas.microsoft.com/office/drawing/2014/main" id="{198392B4-E726-4498-800A-758FFE5F9A3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625096" y="2165214"/>
              <a:ext cx="914400" cy="914400"/>
            </a:xfrm>
            <a:prstGeom prst="rect">
              <a:avLst/>
            </a:prstGeom>
          </p:spPr>
        </p:pic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98F0C1A3-93ED-40DF-AA53-8EC10D4793D8}"/>
              </a:ext>
            </a:extLst>
          </p:cNvPr>
          <p:cNvSpPr txBox="1"/>
          <p:nvPr/>
        </p:nvSpPr>
        <p:spPr>
          <a:xfrm>
            <a:off x="8464961" y="3082430"/>
            <a:ext cx="12470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terans</a:t>
            </a:r>
          </a:p>
        </p:txBody>
      </p:sp>
      <p:sp>
        <p:nvSpPr>
          <p:cNvPr id="58" name="Arrow: Curved Up 57">
            <a:extLst>
              <a:ext uri="{FF2B5EF4-FFF2-40B4-BE49-F238E27FC236}">
                <a16:creationId xmlns:a16="http://schemas.microsoft.com/office/drawing/2014/main" id="{A27251EC-3D60-47B2-B563-4A14D1D3F4E6}"/>
              </a:ext>
            </a:extLst>
          </p:cNvPr>
          <p:cNvSpPr/>
          <p:nvPr/>
        </p:nvSpPr>
        <p:spPr>
          <a:xfrm flipV="1">
            <a:off x="6718536" y="1351790"/>
            <a:ext cx="1671778" cy="580318"/>
          </a:xfrm>
          <a:prstGeom prst="curvedUpArrow">
            <a:avLst/>
          </a:prstGeom>
          <a:solidFill>
            <a:schemeClr val="tx2">
              <a:lumMod val="75000"/>
            </a:schemeClr>
          </a:solidFill>
          <a:ln w="76200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Arrow: Curved Up 58">
            <a:extLst>
              <a:ext uri="{FF2B5EF4-FFF2-40B4-BE49-F238E27FC236}">
                <a16:creationId xmlns:a16="http://schemas.microsoft.com/office/drawing/2014/main" id="{F514E528-547E-4D6B-8DF2-47A3AB496707}"/>
              </a:ext>
            </a:extLst>
          </p:cNvPr>
          <p:cNvSpPr/>
          <p:nvPr/>
        </p:nvSpPr>
        <p:spPr>
          <a:xfrm rot="10800000" flipH="1" flipV="1">
            <a:off x="3916398" y="4185348"/>
            <a:ext cx="1671778" cy="580318"/>
          </a:xfrm>
          <a:prstGeom prst="curvedUpArrow">
            <a:avLst/>
          </a:prstGeom>
          <a:solidFill>
            <a:schemeClr val="tx2">
              <a:lumMod val="75000"/>
            </a:schemeClr>
          </a:solidFill>
          <a:ln w="76200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8153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FE6ECFC8-48EE-45C3-9663-467277BA7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/>
          <a:lstStyle/>
          <a:p>
            <a:r>
              <a:rPr lang="en-US" sz="2400"/>
              <a:t>What is the purpose of the Actively Managed Portfolio initiative?</a:t>
            </a:r>
            <a:endParaRPr lang="en-US" sz="2400">
              <a:cs typeface="Calibri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0B7C3A8-224B-47FD-B600-24E2C37BB321}"/>
              </a:ext>
            </a:extLst>
          </p:cNvPr>
          <p:cNvGrpSpPr/>
          <p:nvPr/>
        </p:nvGrpSpPr>
        <p:grpSpPr>
          <a:xfrm>
            <a:off x="473340" y="1162255"/>
            <a:ext cx="4253329" cy="4053721"/>
            <a:chOff x="864185" y="1798615"/>
            <a:chExt cx="4253329" cy="405372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75A79DA-9BF5-456B-BDE9-19DDEC27EE1F}"/>
                </a:ext>
              </a:extLst>
            </p:cNvPr>
            <p:cNvSpPr txBox="1"/>
            <p:nvPr/>
          </p:nvSpPr>
          <p:spPr>
            <a:xfrm>
              <a:off x="864185" y="2713015"/>
              <a:ext cx="4253329" cy="31393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What are Actively Managed Portfolios?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folios of related research, operating as a part of a larger learning health system, that prioritize </a:t>
              </a:r>
              <a:r>
                <a:rPr kumimoji="0" lang="en-US" sz="18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mmunication, coordination, and collaboration </a:t>
              </a:r>
              <a:r>
                <a:rPr kumimoji="0" lang="en-US" sz="1800" b="0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ween clinicians, researchers, and other stakeholders to solve specific questions regarding real-world health challenges faced by Veterans </a:t>
              </a:r>
              <a:endPara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Graphic 21" descr="Badge Question Mark with solid fill">
              <a:extLst>
                <a:ext uri="{FF2B5EF4-FFF2-40B4-BE49-F238E27FC236}">
                  <a16:creationId xmlns:a16="http://schemas.microsoft.com/office/drawing/2014/main" id="{A088B169-6381-4379-A027-72E0DC6EC33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2533650" y="1798615"/>
              <a:ext cx="914400" cy="914400"/>
            </a:xfrm>
            <a:prstGeom prst="rect">
              <a:avLst/>
            </a:prstGeom>
          </p:spPr>
        </p:pic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7138772-CD65-4344-8FC6-D3E7DEDA5093}"/>
              </a:ext>
            </a:extLst>
          </p:cNvPr>
          <p:cNvCxnSpPr/>
          <p:nvPr/>
        </p:nvCxnSpPr>
        <p:spPr>
          <a:xfrm>
            <a:off x="5181600" y="1306008"/>
            <a:ext cx="0" cy="4245984"/>
          </a:xfrm>
          <a:prstGeom prst="line">
            <a:avLst/>
          </a:prstGeom>
          <a:ln w="38100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41DA394-3359-4340-96AF-2A7ED3A06656}"/>
              </a:ext>
            </a:extLst>
          </p:cNvPr>
          <p:cNvGrpSpPr/>
          <p:nvPr/>
        </p:nvGrpSpPr>
        <p:grpSpPr>
          <a:xfrm>
            <a:off x="5363660" y="1178546"/>
            <a:ext cx="6418765" cy="4424386"/>
            <a:chOff x="5363660" y="1424340"/>
            <a:chExt cx="6418765" cy="4424386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DB4A35C-D8AC-47B1-86B5-3C0B9F653FB0}"/>
                </a:ext>
              </a:extLst>
            </p:cNvPr>
            <p:cNvSpPr txBox="1"/>
            <p:nvPr/>
          </p:nvSpPr>
          <p:spPr>
            <a:xfrm>
              <a:off x="6095999" y="1424340"/>
              <a:ext cx="509061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is approach will enhance ORD’s ability to: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88912C0-EF34-4FA3-AF33-D8A0EE3E5AE6}"/>
                </a:ext>
              </a:extLst>
            </p:cNvPr>
            <p:cNvGrpSpPr/>
            <p:nvPr/>
          </p:nvGrpSpPr>
          <p:grpSpPr>
            <a:xfrm>
              <a:off x="5363660" y="1800160"/>
              <a:ext cx="6418765" cy="4048566"/>
              <a:chOff x="5363660" y="1800160"/>
              <a:chExt cx="6418765" cy="4048566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9533AB9-E6E0-43C2-9168-640240DA6B7C}"/>
                  </a:ext>
                </a:extLst>
              </p:cNvPr>
              <p:cNvSpPr txBox="1"/>
              <p:nvPr/>
            </p:nvSpPr>
            <p:spPr>
              <a:xfrm>
                <a:off x="6096000" y="2492448"/>
                <a:ext cx="5686425" cy="646331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romote strategic coordination of research across ORD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138DF8C-FCD0-49F9-B113-C70CDC2C2FF0}"/>
                  </a:ext>
                </a:extLst>
              </p:cNvPr>
              <p:cNvSpPr txBox="1"/>
              <p:nvPr/>
            </p:nvSpPr>
            <p:spPr>
              <a:xfrm>
                <a:off x="6096000" y="3837554"/>
                <a:ext cx="5686425" cy="646331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ximize efficiency by supporting research end-to-end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6146C528-9EF7-4FF6-A49B-795083AC7A85}"/>
                  </a:ext>
                </a:extLst>
              </p:cNvPr>
              <p:cNvSpPr txBox="1"/>
              <p:nvPr/>
            </p:nvSpPr>
            <p:spPr>
              <a:xfrm>
                <a:off x="6096000" y="4510107"/>
                <a:ext cx="5686425" cy="646331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stablish criteria for rapid review and funding of prioritized research studies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1379D4B1-9953-4A40-8D24-D611A29B8AB9}"/>
                  </a:ext>
                </a:extLst>
              </p:cNvPr>
              <p:cNvSpPr txBox="1"/>
              <p:nvPr/>
            </p:nvSpPr>
            <p:spPr>
              <a:xfrm>
                <a:off x="6095999" y="5321160"/>
                <a:ext cx="5686425" cy="369332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nhance utilization of data and analytical tools </a:t>
                </a: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31" name="Graphic 30" descr="Route (Two Pins With A Path) with solid fill">
                <a:extLst>
                  <a:ext uri="{FF2B5EF4-FFF2-40B4-BE49-F238E27FC236}">
                    <a16:creationId xmlns:a16="http://schemas.microsoft.com/office/drawing/2014/main" id="{BAD5A73C-8CD8-4EAF-B806-DB89A2221FC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5368019" y="3817820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32" name="Graphic 31" descr="Group brainstorm with solid fill">
                <a:extLst>
                  <a:ext uri="{FF2B5EF4-FFF2-40B4-BE49-F238E27FC236}">
                    <a16:creationId xmlns:a16="http://schemas.microsoft.com/office/drawing/2014/main" id="{265B6D9F-CC7D-4B23-AE8E-D61EB9CF42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rcRect/>
              <a:stretch/>
            </p:blipFill>
            <p:spPr>
              <a:xfrm>
                <a:off x="5363660" y="3145267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33" name="Graphic 32" descr="Map compass with solid fill">
                <a:extLst>
                  <a:ext uri="{FF2B5EF4-FFF2-40B4-BE49-F238E27FC236}">
                    <a16:creationId xmlns:a16="http://schemas.microsoft.com/office/drawing/2014/main" id="{70C46726-8807-41FD-989D-BEDC1A3AC0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rcRect/>
              <a:stretch/>
            </p:blipFill>
            <p:spPr>
              <a:xfrm>
                <a:off x="5370661" y="4490373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34" name="Graphic 33" descr="Completed with solid fill">
                <a:extLst>
                  <a:ext uri="{FF2B5EF4-FFF2-40B4-BE49-F238E27FC236}">
                    <a16:creationId xmlns:a16="http://schemas.microsoft.com/office/drawing/2014/main" id="{6A5B4D6E-25DA-4B9B-AE79-2118979E47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5368019" y="5162926"/>
                <a:ext cx="685800" cy="685800"/>
              </a:xfrm>
              <a:prstGeom prst="rect">
                <a:avLst/>
              </a:prstGeom>
            </p:spPr>
          </p:pic>
          <p:pic>
            <p:nvPicPr>
              <p:cNvPr id="35" name="Graphic 34" descr="Cheers with solid fill">
                <a:extLst>
                  <a:ext uri="{FF2B5EF4-FFF2-40B4-BE49-F238E27FC236}">
                    <a16:creationId xmlns:a16="http://schemas.microsoft.com/office/drawing/2014/main" id="{16F052F4-9C44-468D-A071-95616D3F8F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rcRect/>
              <a:stretch/>
            </p:blipFill>
            <p:spPr>
              <a:xfrm>
                <a:off x="5363660" y="2472713"/>
                <a:ext cx="685800" cy="685800"/>
              </a:xfrm>
              <a:prstGeom prst="rect">
                <a:avLst/>
              </a:prstGeom>
            </p:spPr>
          </p:pic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175767D-3163-49CF-BAED-8C62F23508D1}"/>
                  </a:ext>
                </a:extLst>
              </p:cNvPr>
              <p:cNvGrpSpPr/>
              <p:nvPr/>
            </p:nvGrpSpPr>
            <p:grpSpPr>
              <a:xfrm>
                <a:off x="5363660" y="1800160"/>
                <a:ext cx="6418765" cy="685800"/>
                <a:chOff x="5363660" y="1800160"/>
                <a:chExt cx="6418765" cy="685800"/>
              </a:xfrm>
            </p:grpSpPr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712CA8F5-3331-4294-B349-0D8C574F2E9F}"/>
                    </a:ext>
                  </a:extLst>
                </p:cNvPr>
                <p:cNvSpPr txBox="1"/>
                <p:nvPr/>
              </p:nvSpPr>
              <p:spPr>
                <a:xfrm>
                  <a:off x="6096000" y="1958394"/>
                  <a:ext cx="5686425" cy="369332"/>
                </a:xfrm>
                <a:prstGeom prst="rect">
                  <a:avLst/>
                </a:prstGeom>
                <a:noFill/>
              </p:spPr>
              <p:txBody>
                <a:bodyPr wrap="square" anchor="ctr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None/>
                    <a:tabLst/>
                    <a:defRPr/>
                  </a:pPr>
                  <a:r>
                    <a: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Ensure the strategic investment of taxpayer dollars</a:t>
                  </a:r>
                </a:p>
              </p:txBody>
            </p:sp>
            <p:pic>
              <p:nvPicPr>
                <p:cNvPr id="39" name="Graphic 38" descr="Money with solid fill">
                  <a:extLst>
                    <a:ext uri="{FF2B5EF4-FFF2-40B4-BE49-F238E27FC236}">
                      <a16:creationId xmlns:a16="http://schemas.microsoft.com/office/drawing/2014/main" id="{8EF2F60F-81E0-4FE9-B2E9-39CCC480F64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>
                  <a:extLst>
                    <a:ext uri="{96DAC541-7B7A-43D3-8B79-37D633B846F1}">
                      <asvg:svgBlip xmlns:asvg="http://schemas.microsoft.com/office/drawing/2016/SVG/main" r:embed="rId1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363660" y="1800160"/>
                  <a:ext cx="685800" cy="685800"/>
                </a:xfrm>
                <a:prstGeom prst="rect">
                  <a:avLst/>
                </a:prstGeom>
              </p:spPr>
            </p:pic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C1658AE1-45C9-485F-AAD0-7EBCB1218153}"/>
                  </a:ext>
                </a:extLst>
              </p:cNvPr>
              <p:cNvSpPr txBox="1"/>
              <p:nvPr/>
            </p:nvSpPr>
            <p:spPr>
              <a:xfrm>
                <a:off x="6096000" y="3165001"/>
                <a:ext cx="5686425" cy="646331"/>
              </a:xfrm>
              <a:prstGeom prst="rect">
                <a:avLst/>
              </a:prstGeom>
              <a:noFill/>
            </p:spPr>
            <p:txBody>
              <a:bodyPr wrap="square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Increase collaboration between research, clinical operations, and external partne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89988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920D3-A2A0-4ED0-B27D-879CD0C4E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456" y="169460"/>
            <a:ext cx="10515600" cy="646172"/>
          </a:xfrm>
        </p:spPr>
        <p:txBody>
          <a:bodyPr>
            <a:normAutofit/>
          </a:bodyPr>
          <a:lstStyle/>
          <a:p>
            <a:r>
              <a:rPr lang="en-US" sz="2400" b="1"/>
              <a:t>There are four requirements for an AMP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50AC01E-2427-40BC-B430-90FAE1B8CD95}"/>
              </a:ext>
            </a:extLst>
          </p:cNvPr>
          <p:cNvSpPr/>
          <p:nvPr/>
        </p:nvSpPr>
        <p:spPr>
          <a:xfrm>
            <a:off x="156456" y="1587065"/>
            <a:ext cx="2834640" cy="447740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ically identify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d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search that seeks t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we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cific, real-world question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t are important to Veterans, providers, and/or the healthcare system that results in the improvement of health, care and well-being of Vetera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6DFADEE-4E99-4255-A559-2ED88D2930D3}"/>
              </a:ext>
            </a:extLst>
          </p:cNvPr>
          <p:cNvSpPr/>
          <p:nvPr/>
        </p:nvSpPr>
        <p:spPr>
          <a:xfrm>
            <a:off x="3146650" y="1587065"/>
            <a:ext cx="2834640" cy="447740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e that scientific research discoveries within the portfolio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late into clinical practic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inform healthcare decision mak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B8A57A42-7628-4410-B706-7730C0952981}"/>
              </a:ext>
            </a:extLst>
          </p:cNvPr>
          <p:cNvSpPr/>
          <p:nvPr/>
        </p:nvSpPr>
        <p:spPr>
          <a:xfrm>
            <a:off x="6136844" y="1587065"/>
            <a:ext cx="2834640" cy="447740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quality improvement intervention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at enhance clinical and research outcomes and  support the achievement of the portfolio’s goa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A9A03447-3BF1-4404-A45E-06568FCAF5CD}"/>
              </a:ext>
            </a:extLst>
          </p:cNvPr>
          <p:cNvSpPr/>
          <p:nvPr/>
        </p:nvSpPr>
        <p:spPr>
          <a:xfrm>
            <a:off x="9127038" y="1587065"/>
            <a:ext cx="2834640" cy="447740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/>
            </a:solidFill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ote the continued maturation of VHA as a learning healthcare system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repeatable processes focused on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, coordination and collaboration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key stakeholders</a:t>
            </a:r>
            <a:endParaRPr kumimoji="0" lang="en-US" sz="1600" b="0" i="0" u="none" strike="sng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E0B3611-5B61-49ED-BD35-A38591D4E675}"/>
              </a:ext>
            </a:extLst>
          </p:cNvPr>
          <p:cNvSpPr/>
          <p:nvPr/>
        </p:nvSpPr>
        <p:spPr>
          <a:xfrm>
            <a:off x="3901366" y="896825"/>
            <a:ext cx="1359891" cy="138048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DBDDA09-1EC9-4C72-8DB0-3EE988C6F1AE}"/>
              </a:ext>
            </a:extLst>
          </p:cNvPr>
          <p:cNvSpPr/>
          <p:nvPr/>
        </p:nvSpPr>
        <p:spPr>
          <a:xfrm>
            <a:off x="911172" y="896825"/>
            <a:ext cx="1359891" cy="138048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733C619-2CCD-45D5-BC7C-E573C39F03A2}"/>
              </a:ext>
            </a:extLst>
          </p:cNvPr>
          <p:cNvSpPr/>
          <p:nvPr/>
        </p:nvSpPr>
        <p:spPr>
          <a:xfrm>
            <a:off x="6891560" y="896825"/>
            <a:ext cx="1359891" cy="138048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2AC45516-6351-4794-951E-8204F8D41D8A}"/>
              </a:ext>
            </a:extLst>
          </p:cNvPr>
          <p:cNvSpPr/>
          <p:nvPr/>
        </p:nvSpPr>
        <p:spPr>
          <a:xfrm>
            <a:off x="9881754" y="870164"/>
            <a:ext cx="1359891" cy="138048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7" name="Graphic 36" descr="Clipboard Checked with solid fill">
            <a:extLst>
              <a:ext uri="{FF2B5EF4-FFF2-40B4-BE49-F238E27FC236}">
                <a16:creationId xmlns:a16="http://schemas.microsoft.com/office/drawing/2014/main" id="{D8A72C38-370E-42C1-972B-CEC8DC374C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114305" y="1072384"/>
            <a:ext cx="914400" cy="914400"/>
          </a:xfrm>
          <a:prstGeom prst="rect">
            <a:avLst/>
          </a:prstGeom>
        </p:spPr>
      </p:pic>
      <p:pic>
        <p:nvPicPr>
          <p:cNvPr id="38" name="Graphic 37" descr="Users with solid fill">
            <a:extLst>
              <a:ext uri="{FF2B5EF4-FFF2-40B4-BE49-F238E27FC236}">
                <a16:creationId xmlns:a16="http://schemas.microsoft.com/office/drawing/2014/main" id="{05628D54-14B0-4D4F-9717-CBDAC2A68A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104499" y="1099005"/>
            <a:ext cx="914400" cy="914400"/>
          </a:xfrm>
          <a:prstGeom prst="rect">
            <a:avLst/>
          </a:prstGeom>
        </p:spPr>
      </p:pic>
      <p:sp>
        <p:nvSpPr>
          <p:cNvPr id="39" name="Rectangle: Folded Corner 38">
            <a:extLst>
              <a:ext uri="{FF2B5EF4-FFF2-40B4-BE49-F238E27FC236}">
                <a16:creationId xmlns:a16="http://schemas.microsoft.com/office/drawing/2014/main" id="{FFF4F6A5-0028-4450-805F-BDF59B33FA16}"/>
              </a:ext>
            </a:extLst>
          </p:cNvPr>
          <p:cNvSpPr/>
          <p:nvPr/>
        </p:nvSpPr>
        <p:spPr>
          <a:xfrm>
            <a:off x="0" y="5529007"/>
            <a:ext cx="7189076" cy="454268"/>
          </a:xfrm>
          <a:prstGeom prst="foldedCorner">
            <a:avLst>
              <a:gd name="adj" fmla="val 50000"/>
            </a:avLst>
          </a:prstGeom>
          <a:solidFill>
            <a:srgbClr val="002060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quirements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The requisite responsibilities for all Actively Managed Portfolios</a:t>
            </a:r>
          </a:p>
        </p:txBody>
      </p:sp>
      <p:pic>
        <p:nvPicPr>
          <p:cNvPr id="16" name="Graphic 15" descr="Stethoscope with solid fill">
            <a:extLst>
              <a:ext uri="{FF2B5EF4-FFF2-40B4-BE49-F238E27FC236}">
                <a16:creationId xmlns:a16="http://schemas.microsoft.com/office/drawing/2014/main" id="{27C712A3-6562-4450-8AD3-359528A3972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124112" y="1129865"/>
            <a:ext cx="914400" cy="914400"/>
          </a:xfrm>
          <a:prstGeom prst="rect">
            <a:avLst/>
          </a:prstGeom>
        </p:spPr>
      </p:pic>
      <p:sp>
        <p:nvSpPr>
          <p:cNvPr id="22" name="Slide Number Placeholder 2">
            <a:extLst>
              <a:ext uri="{FF2B5EF4-FFF2-40B4-BE49-F238E27FC236}">
                <a16:creationId xmlns:a16="http://schemas.microsoft.com/office/drawing/2014/main" id="{D12C7EDC-B42B-DE19-F886-00A0A3A31D13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Graphic 3" descr="Magnifying glass with solid fill">
            <a:extLst>
              <a:ext uri="{FF2B5EF4-FFF2-40B4-BE49-F238E27FC236}">
                <a16:creationId xmlns:a16="http://schemas.microsoft.com/office/drawing/2014/main" id="{20A26691-F3D0-188F-9BB3-49B15C9BDD5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33917" y="109900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476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2B6C88F-AB10-439F-9814-EA0006187063}"/>
              </a:ext>
            </a:extLst>
          </p:cNvPr>
          <p:cNvSpPr>
            <a:spLocks/>
          </p:cNvSpPr>
          <p:nvPr/>
        </p:nvSpPr>
        <p:spPr>
          <a:xfrm>
            <a:off x="966983" y="3428739"/>
            <a:ext cx="10912366" cy="7315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D6A707E-758D-4C82-BED1-0A6493665D00}"/>
              </a:ext>
            </a:extLst>
          </p:cNvPr>
          <p:cNvSpPr>
            <a:spLocks/>
          </p:cNvSpPr>
          <p:nvPr/>
        </p:nvSpPr>
        <p:spPr>
          <a:xfrm>
            <a:off x="966189" y="2560814"/>
            <a:ext cx="10912366" cy="7315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8D06E369-4E5E-4D91-859F-E7E8DA04740D}"/>
              </a:ext>
            </a:extLst>
          </p:cNvPr>
          <p:cNvSpPr>
            <a:spLocks/>
          </p:cNvSpPr>
          <p:nvPr/>
        </p:nvSpPr>
        <p:spPr>
          <a:xfrm>
            <a:off x="966983" y="4304134"/>
            <a:ext cx="10912366" cy="7315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D08CEA2F-B8D4-4498-AAA4-6C72891A24D7}"/>
              </a:ext>
            </a:extLst>
          </p:cNvPr>
          <p:cNvSpPr>
            <a:spLocks/>
          </p:cNvSpPr>
          <p:nvPr/>
        </p:nvSpPr>
        <p:spPr>
          <a:xfrm>
            <a:off x="966189" y="5187998"/>
            <a:ext cx="10912366" cy="7315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466E8777-7417-4DE4-B3B0-60A1143DCDDF}"/>
              </a:ext>
            </a:extLst>
          </p:cNvPr>
          <p:cNvSpPr/>
          <p:nvPr/>
        </p:nvSpPr>
        <p:spPr>
          <a:xfrm>
            <a:off x="966983" y="1698576"/>
            <a:ext cx="10912366" cy="731520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9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C920D3-A2A0-4ED0-B27D-879CD0C4EB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669" y="-69975"/>
            <a:ext cx="10515600" cy="1325563"/>
          </a:xfrm>
        </p:spPr>
        <p:txBody>
          <a:bodyPr/>
          <a:lstStyle/>
          <a:p>
            <a:r>
              <a:rPr lang="en-US" sz="2400" b="1"/>
              <a:t>An AMP must fulfill each of these five key capabilitie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EE2BDC8-3E66-4AE8-9DCB-A6155FE6805A}"/>
              </a:ext>
            </a:extLst>
          </p:cNvPr>
          <p:cNvSpPr txBox="1"/>
          <p:nvPr/>
        </p:nvSpPr>
        <p:spPr>
          <a:xfrm>
            <a:off x="1526466" y="1874816"/>
            <a:ext cx="97147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 strategic coordination of research projects within the portfol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0CAABD-0DD5-49C1-9EDB-2DD361A5749C}"/>
              </a:ext>
            </a:extLst>
          </p:cNvPr>
          <p:cNvSpPr txBox="1"/>
          <p:nvPr/>
        </p:nvSpPr>
        <p:spPr>
          <a:xfrm>
            <a:off x="1564994" y="4485228"/>
            <a:ext cx="6172200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t roadmap and strategic priori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F54401E-1F8A-4172-9811-AC5F437056F0}"/>
              </a:ext>
            </a:extLst>
          </p:cNvPr>
          <p:cNvSpPr txBox="1"/>
          <p:nvPr/>
        </p:nvSpPr>
        <p:spPr>
          <a:xfrm>
            <a:off x="1564994" y="5369092"/>
            <a:ext cx="97147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pidly review and fund prioritized research studi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4615216-D852-4019-9E54-20998CF805FA}"/>
              </a:ext>
            </a:extLst>
          </p:cNvPr>
          <p:cNvSpPr txBox="1"/>
          <p:nvPr/>
        </p:nvSpPr>
        <p:spPr>
          <a:xfrm>
            <a:off x="1564994" y="3510504"/>
            <a:ext cx="97147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hance utilization of existing data and analytical tools to increase coordination and collaboration of research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84273AE-F745-4ADF-85D0-D9EE6E8C5BBE}"/>
              </a:ext>
            </a:extLst>
          </p:cNvPr>
          <p:cNvSpPr txBox="1"/>
          <p:nvPr/>
        </p:nvSpPr>
        <p:spPr>
          <a:xfrm>
            <a:off x="1564994" y="2622949"/>
            <a:ext cx="97147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ster greater collaboration between ORD research and VHA clinical partners as well as external collaborators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EE9AAE28-03AC-443B-998E-C7E17E583B05}"/>
              </a:ext>
            </a:extLst>
          </p:cNvPr>
          <p:cNvSpPr/>
          <p:nvPr/>
        </p:nvSpPr>
        <p:spPr>
          <a:xfrm>
            <a:off x="582683" y="2545936"/>
            <a:ext cx="761236" cy="77276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796347A-010A-4E64-922B-491259CA3B0C}"/>
              </a:ext>
            </a:extLst>
          </p:cNvPr>
          <p:cNvSpPr/>
          <p:nvPr/>
        </p:nvSpPr>
        <p:spPr>
          <a:xfrm>
            <a:off x="580642" y="1660234"/>
            <a:ext cx="761236" cy="77276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8900752D-CB41-43C4-9F88-98848C24A66F}"/>
              </a:ext>
            </a:extLst>
          </p:cNvPr>
          <p:cNvSpPr/>
          <p:nvPr/>
        </p:nvSpPr>
        <p:spPr>
          <a:xfrm>
            <a:off x="580642" y="3428739"/>
            <a:ext cx="761236" cy="77276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28746A7-5BB4-403A-9A43-294DF7F7FD08}"/>
              </a:ext>
            </a:extLst>
          </p:cNvPr>
          <p:cNvSpPr/>
          <p:nvPr/>
        </p:nvSpPr>
        <p:spPr>
          <a:xfrm>
            <a:off x="580642" y="4305195"/>
            <a:ext cx="761236" cy="77276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E115262-464B-42F7-B03C-FBF2D81E6547}"/>
              </a:ext>
            </a:extLst>
          </p:cNvPr>
          <p:cNvSpPr/>
          <p:nvPr/>
        </p:nvSpPr>
        <p:spPr>
          <a:xfrm>
            <a:off x="580642" y="5187998"/>
            <a:ext cx="761236" cy="772762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: Folded Corner 34">
            <a:extLst>
              <a:ext uri="{FF2B5EF4-FFF2-40B4-BE49-F238E27FC236}">
                <a16:creationId xmlns:a16="http://schemas.microsoft.com/office/drawing/2014/main" id="{18BBB4ED-86E9-4038-B65A-224443D6FAA4}"/>
              </a:ext>
            </a:extLst>
          </p:cNvPr>
          <p:cNvSpPr/>
          <p:nvPr/>
        </p:nvSpPr>
        <p:spPr>
          <a:xfrm>
            <a:off x="-1" y="987809"/>
            <a:ext cx="10125076" cy="454268"/>
          </a:xfrm>
          <a:prstGeom prst="foldedCorner">
            <a:avLst>
              <a:gd name="adj" fmla="val 50000"/>
            </a:avLst>
          </a:prstGeom>
          <a:solidFill>
            <a:srgbClr val="002060"/>
          </a:solidFill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sng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apabilities</a:t>
            </a: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Targeted, prioritized list of mission-critical capabilities necessary to meet an AMP’s requirements</a:t>
            </a:r>
          </a:p>
        </p:txBody>
      </p:sp>
      <p:pic>
        <p:nvPicPr>
          <p:cNvPr id="11" name="Graphic 10" descr="Cycle with people with solid fill">
            <a:extLst>
              <a:ext uri="{FF2B5EF4-FFF2-40B4-BE49-F238E27FC236}">
                <a16:creationId xmlns:a16="http://schemas.microsoft.com/office/drawing/2014/main" id="{3FFDDA64-7B5E-4D91-BED2-B22914101D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63851" y="1641087"/>
            <a:ext cx="798187" cy="798187"/>
          </a:xfrm>
          <a:prstGeom prst="rect">
            <a:avLst/>
          </a:prstGeom>
        </p:spPr>
      </p:pic>
      <p:pic>
        <p:nvPicPr>
          <p:cNvPr id="9" name="Graphic 8" descr="Customer review with solid fill">
            <a:extLst>
              <a:ext uri="{FF2B5EF4-FFF2-40B4-BE49-F238E27FC236}">
                <a16:creationId xmlns:a16="http://schemas.microsoft.com/office/drawing/2014/main" id="{3FFD9570-6007-471B-943C-5F60723277A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8749" y="2646980"/>
            <a:ext cx="619722" cy="598268"/>
          </a:xfrm>
          <a:prstGeom prst="rect">
            <a:avLst/>
          </a:prstGeom>
        </p:spPr>
      </p:pic>
      <p:pic>
        <p:nvPicPr>
          <p:cNvPr id="13" name="Graphic 12" descr="Folder Search with solid fill">
            <a:extLst>
              <a:ext uri="{FF2B5EF4-FFF2-40B4-BE49-F238E27FC236}">
                <a16:creationId xmlns:a16="http://schemas.microsoft.com/office/drawing/2014/main" id="{9D352956-6041-498A-8B3D-CDB711A5D3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03720" y="3422242"/>
            <a:ext cx="795528" cy="795528"/>
          </a:xfrm>
          <a:prstGeom prst="rect">
            <a:avLst/>
          </a:prstGeom>
        </p:spPr>
      </p:pic>
      <p:pic>
        <p:nvPicPr>
          <p:cNvPr id="10" name="Graphic 9" descr="Playbook with solid fill">
            <a:extLst>
              <a:ext uri="{FF2B5EF4-FFF2-40B4-BE49-F238E27FC236}">
                <a16:creationId xmlns:a16="http://schemas.microsoft.com/office/drawing/2014/main" id="{B88B359C-55C8-4047-8946-170FCF40BE2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4488" y="4358435"/>
            <a:ext cx="666281" cy="666281"/>
          </a:xfrm>
          <a:prstGeom prst="rect">
            <a:avLst/>
          </a:prstGeom>
        </p:spPr>
      </p:pic>
      <p:pic>
        <p:nvPicPr>
          <p:cNvPr id="12" name="Graphic 11" descr="Stopwatch 33% with solid fill">
            <a:extLst>
              <a:ext uri="{FF2B5EF4-FFF2-40B4-BE49-F238E27FC236}">
                <a16:creationId xmlns:a16="http://schemas.microsoft.com/office/drawing/2014/main" id="{4661D4AE-AA38-46CE-B29E-9A9B4CD1CD0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595011" y="5204388"/>
            <a:ext cx="753071" cy="731520"/>
          </a:xfrm>
          <a:prstGeom prst="rect">
            <a:avLst/>
          </a:prstGeom>
        </p:spPr>
      </p:pic>
      <p:sp>
        <p:nvSpPr>
          <p:cNvPr id="36" name="Slide Number Placeholder 2">
            <a:extLst>
              <a:ext uri="{FF2B5EF4-FFF2-40B4-BE49-F238E27FC236}">
                <a16:creationId xmlns:a16="http://schemas.microsoft.com/office/drawing/2014/main" id="{A5B70DCE-039A-CE24-96C4-931C672785A9}"/>
              </a:ext>
            </a:extLst>
          </p:cNvPr>
          <p:cNvSpPr txBox="1">
            <a:spLocks/>
          </p:cNvSpPr>
          <p:nvPr/>
        </p:nvSpPr>
        <p:spPr>
          <a:xfrm>
            <a:off x="9448800" y="64928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98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23A1B38-3D81-6109-D720-4D1BB288C8C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Precision Oncology AMP Purview Statement</a:t>
            </a:r>
          </a:p>
        </p:txBody>
      </p:sp>
    </p:spTree>
    <p:extLst>
      <p:ext uri="{BB962C8B-B14F-4D97-AF65-F5344CB8AC3E}">
        <p14:creationId xmlns:p14="http://schemas.microsoft.com/office/powerpoint/2010/main" val="2579729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7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9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1E07F2C274044A140D89A2848318B" ma:contentTypeVersion="0" ma:contentTypeDescription="Create a new document." ma:contentTypeScope="" ma:versionID="96252eb261dcb8c93964b6fc62c193f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B80FFD-B89D-4C6E-9D38-6AA475B5F8E0}">
  <ds:schemaRefs>
    <ds:schemaRef ds:uri="50f0e209-8335-4762-bc61-35d878d3e9d9"/>
    <ds:schemaRef ds:uri="6aa70152-e7f0-4492-8b74-233e905943de"/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73303828-A3AA-4C34-97E9-DC1A4B67639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62E987-EDAB-47BC-BBF2-9BE6382DA8B4}"/>
</file>

<file path=docProps/app.xml><?xml version="1.0" encoding="utf-8"?>
<Properties xmlns="http://schemas.openxmlformats.org/officeDocument/2006/extended-properties" xmlns:vt="http://schemas.openxmlformats.org/officeDocument/2006/docPropsVTypes">
  <TotalTime>83</TotalTime>
  <Words>1808</Words>
  <Application>Microsoft Office PowerPoint</Application>
  <PresentationFormat>Widescreen</PresentationFormat>
  <Paragraphs>221</Paragraphs>
  <Slides>18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Arial</vt:lpstr>
      <vt:lpstr>Calibri</vt:lpstr>
      <vt:lpstr>Calibri Light</vt:lpstr>
      <vt:lpstr>Inter</vt:lpstr>
      <vt:lpstr>Segoe UI</vt:lpstr>
      <vt:lpstr>Times New Roman</vt:lpstr>
      <vt:lpstr>Wingdings</vt:lpstr>
      <vt:lpstr>1_Office Theme</vt:lpstr>
      <vt:lpstr>19_Office Theme</vt:lpstr>
      <vt:lpstr>11_Office Theme</vt:lpstr>
      <vt:lpstr>think-cell Slide</vt:lpstr>
      <vt:lpstr>Precision Oncology Actively Managed Portfolio Overview</vt:lpstr>
      <vt:lpstr>PowerPoint Presentation</vt:lpstr>
      <vt:lpstr>Learning health system components</vt:lpstr>
      <vt:lpstr>PowerPoint Presentation</vt:lpstr>
      <vt:lpstr>PowerPoint Presentation</vt:lpstr>
      <vt:lpstr>What is the purpose of the Actively Managed Portfolio initiative?</vt:lpstr>
      <vt:lpstr>There are four requirements for an AMP</vt:lpstr>
      <vt:lpstr>An AMP must fulfill each of these five key capabilities </vt:lpstr>
      <vt:lpstr>PowerPoint Presentation</vt:lpstr>
      <vt:lpstr>PO AMP Purview Statement</vt:lpstr>
      <vt:lpstr>PowerPoint Presentation</vt:lpstr>
      <vt:lpstr>PowerPoint Presentation</vt:lpstr>
      <vt:lpstr>PowerPoint Presentation</vt:lpstr>
      <vt:lpstr>How we gathered information for creation of AMP accelerated review policy</vt:lpstr>
      <vt:lpstr>To qualify for an accelerated review, a research proposal must meet one of the two qualification criteria</vt:lpstr>
      <vt:lpstr>We have established two different options for accelerated review</vt:lpstr>
      <vt:lpstr>We have identified three ways to make an accelerated review process more efficient than current standard review process</vt:lpstr>
      <vt:lpstr>Thank you for listening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ctively Managed Portfolio Overview</dc:title>
  <dc:creator>Lorcan Neill</dc:creator>
  <cp:lastModifiedBy>Myrie, Kenute A., Ph.D.</cp:lastModifiedBy>
  <cp:revision>4</cp:revision>
  <dcterms:created xsi:type="dcterms:W3CDTF">2022-10-26T13:50:00Z</dcterms:created>
  <dcterms:modified xsi:type="dcterms:W3CDTF">2023-03-31T15:11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97ea9d-daff-4c91-a4f1-55d953dbb0fc_Enabled">
    <vt:lpwstr>true</vt:lpwstr>
  </property>
  <property fmtid="{D5CDD505-2E9C-101B-9397-08002B2CF9AE}" pid="3" name="MSIP_Label_7f97ea9d-daff-4c91-a4f1-55d953dbb0fc_SetDate">
    <vt:lpwstr>2022-10-26T13:50:00Z</vt:lpwstr>
  </property>
  <property fmtid="{D5CDD505-2E9C-101B-9397-08002B2CF9AE}" pid="4" name="MSIP_Label_7f97ea9d-daff-4c91-a4f1-55d953dbb0fc_Method">
    <vt:lpwstr>Standard</vt:lpwstr>
  </property>
  <property fmtid="{D5CDD505-2E9C-101B-9397-08002B2CF9AE}" pid="5" name="MSIP_Label_7f97ea9d-daff-4c91-a4f1-55d953dbb0fc_Name">
    <vt:lpwstr>Public</vt:lpwstr>
  </property>
  <property fmtid="{D5CDD505-2E9C-101B-9397-08002B2CF9AE}" pid="6" name="MSIP_Label_7f97ea9d-daff-4c91-a4f1-55d953dbb0fc_SiteId">
    <vt:lpwstr>58196b33-812d-4eb0-ad27-fc2dd9de53eb</vt:lpwstr>
  </property>
  <property fmtid="{D5CDD505-2E9C-101B-9397-08002B2CF9AE}" pid="7" name="MSIP_Label_7f97ea9d-daff-4c91-a4f1-55d953dbb0fc_ActionId">
    <vt:lpwstr>31a29c9d-21ef-4f30-9477-f35f1d6f2aff</vt:lpwstr>
  </property>
  <property fmtid="{D5CDD505-2E9C-101B-9397-08002B2CF9AE}" pid="8" name="MSIP_Label_7f97ea9d-daff-4c91-a4f1-55d953dbb0fc_ContentBits">
    <vt:lpwstr>0</vt:lpwstr>
  </property>
  <property fmtid="{D5CDD505-2E9C-101B-9397-08002B2CF9AE}" pid="9" name="ContentTypeId">
    <vt:lpwstr>0x01010045B1E07F2C274044A140D89A2848318B</vt:lpwstr>
  </property>
  <property fmtid="{D5CDD505-2E9C-101B-9397-08002B2CF9AE}" pid="10" name="MediaServiceImageTags">
    <vt:lpwstr/>
  </property>
  <property fmtid="{D5CDD505-2E9C-101B-9397-08002B2CF9AE}" pid="11" name="Order">
    <vt:r8>19000</vt:r8>
  </property>
  <property fmtid="{D5CDD505-2E9C-101B-9397-08002B2CF9AE}" pid="12" name="xd_Signature">
    <vt:bool>false</vt:bool>
  </property>
  <property fmtid="{D5CDD505-2E9C-101B-9397-08002B2CF9AE}" pid="13" name="xd_ProgID">
    <vt:lpwstr/>
  </property>
  <property fmtid="{D5CDD505-2E9C-101B-9397-08002B2CF9AE}" pid="14" name="TriggerFlowInfo">
    <vt:lpwstr/>
  </property>
  <property fmtid="{D5CDD505-2E9C-101B-9397-08002B2CF9AE}" pid="15" name="_SourceUrl">
    <vt:lpwstr/>
  </property>
  <property fmtid="{D5CDD505-2E9C-101B-9397-08002B2CF9AE}" pid="16" name="_SharedFileIndex">
    <vt:lpwstr/>
  </property>
  <property fmtid="{D5CDD505-2E9C-101B-9397-08002B2CF9AE}" pid="17" name="ComplianceAssetId">
    <vt:lpwstr/>
  </property>
  <property fmtid="{D5CDD505-2E9C-101B-9397-08002B2CF9AE}" pid="18" name="TemplateUrl">
    <vt:lpwstr/>
  </property>
  <property fmtid="{D5CDD505-2E9C-101B-9397-08002B2CF9AE}" pid="19" name="_ExtendedDescription">
    <vt:lpwstr/>
  </property>
</Properties>
</file>